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4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5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6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7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8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9.xml" ContentType="application/vnd.openxmlformats-officedocument.theme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10.xml" ContentType="application/vnd.openxmlformats-officedocument.theme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theme/theme11.xml" ContentType="application/vnd.openxmlformats-officedocument.theme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theme/theme12.xml" ContentType="application/vnd.openxmlformats-officedocument.theme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theme/theme13.xml" ContentType="application/vnd.openxmlformats-officedocument.theme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14.xml" ContentType="application/vnd.openxmlformats-officedocument.theme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theme/theme15.xml" ContentType="application/vnd.openxmlformats-officedocument.theme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theme/theme16.xml" ContentType="application/vnd.openxmlformats-officedocument.theme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theme/theme1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18.xml" ContentType="application/vnd.openxmlformats-officedocument.theme+xml"/>
  <Override PartName="/ppt/theme/theme19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0" r:id="rId1"/>
    <p:sldMasterId id="2147483746" r:id="rId2"/>
    <p:sldMasterId id="2147483758" r:id="rId3"/>
    <p:sldMasterId id="2147483772" r:id="rId4"/>
    <p:sldMasterId id="2147483800" r:id="rId5"/>
    <p:sldMasterId id="2147483815" r:id="rId6"/>
    <p:sldMasterId id="2147483829" r:id="rId7"/>
    <p:sldMasterId id="2147483845" r:id="rId8"/>
    <p:sldMasterId id="2147483860" r:id="rId9"/>
    <p:sldMasterId id="2147483875" r:id="rId10"/>
    <p:sldMasterId id="2147483891" r:id="rId11"/>
    <p:sldMasterId id="2147483907" r:id="rId12"/>
    <p:sldMasterId id="2147483923" r:id="rId13"/>
    <p:sldMasterId id="2147483938" r:id="rId14"/>
    <p:sldMasterId id="2147483953" r:id="rId15"/>
    <p:sldMasterId id="2147483968" r:id="rId16"/>
    <p:sldMasterId id="2147484144" r:id="rId17"/>
  </p:sldMasterIdLst>
  <p:notesMasterIdLst>
    <p:notesMasterId r:id="rId25"/>
  </p:notesMasterIdLst>
  <p:handoutMasterIdLst>
    <p:handoutMasterId r:id="rId26"/>
  </p:handoutMasterIdLst>
  <p:sldIdLst>
    <p:sldId id="929" r:id="rId18"/>
    <p:sldId id="927" r:id="rId19"/>
    <p:sldId id="928" r:id="rId20"/>
    <p:sldId id="932" r:id="rId21"/>
    <p:sldId id="933" r:id="rId22"/>
    <p:sldId id="934" r:id="rId23"/>
    <p:sldId id="931" r:id="rId24"/>
  </p:sldIdLst>
  <p:sldSz cx="12801600" cy="9601200" type="A3"/>
  <p:notesSz cx="6797675" cy="9928225"/>
  <p:defaultTextStyle>
    <a:defPPr>
      <a:defRPr lang="ru-RU"/>
    </a:defPPr>
    <a:lvl1pPr marL="0" algn="l" defTabSz="1431709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1pPr>
    <a:lvl2pPr marL="715854" algn="l" defTabSz="1431709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2pPr>
    <a:lvl3pPr marL="1431709" algn="l" defTabSz="1431709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3pPr>
    <a:lvl4pPr marL="2147566" algn="l" defTabSz="1431709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4pPr>
    <a:lvl5pPr marL="2863426" algn="l" defTabSz="1431709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5pPr>
    <a:lvl6pPr marL="3579276" algn="l" defTabSz="1431709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6pPr>
    <a:lvl7pPr marL="4295131" algn="l" defTabSz="1431709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7pPr>
    <a:lvl8pPr marL="5010985" algn="l" defTabSz="1431709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8pPr>
    <a:lvl9pPr marL="5726843" algn="l" defTabSz="1431709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602A7DE9-5469-4F79-B0C7-3BF9005FF4F7}">
          <p14:sldIdLst>
            <p14:sldId id="929"/>
            <p14:sldId id="927"/>
            <p14:sldId id="928"/>
            <p14:sldId id="932"/>
            <p14:sldId id="933"/>
            <p14:sldId id="934"/>
            <p14:sldId id="931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3840" userDrawn="1">
          <p15:clr>
            <a:srgbClr val="A4A3A4"/>
          </p15:clr>
        </p15:guide>
        <p15:guide id="2" orient="horz" pos="5759" userDrawn="1">
          <p15:clr>
            <a:srgbClr val="A4A3A4"/>
          </p15:clr>
        </p15:guide>
        <p15:guide id="3" pos="6239" userDrawn="1">
          <p15:clr>
            <a:srgbClr val="A4A3A4"/>
          </p15:clr>
        </p15:guide>
        <p15:guide id="4" orient="horz" pos="3847" userDrawn="1">
          <p15:clr>
            <a:srgbClr val="A4A3A4"/>
          </p15:clr>
        </p15:guide>
        <p15:guide id="5" orient="horz" userDrawn="1">
          <p15:clr>
            <a:srgbClr val="A4A3A4"/>
          </p15:clr>
        </p15:guide>
        <p15:guide id="6" pos="388" userDrawn="1">
          <p15:clr>
            <a:srgbClr val="A4A3A4"/>
          </p15:clr>
        </p15:guide>
        <p15:guide id="7" orient="horz" pos="4528" userDrawn="1">
          <p15:clr>
            <a:srgbClr val="A4A3A4"/>
          </p15:clr>
        </p15:guide>
        <p15:guide id="8" orient="horz" pos="4471" userDrawn="1">
          <p15:clr>
            <a:srgbClr val="A4A3A4"/>
          </p15:clr>
        </p15:guide>
        <p15:guide id="9" orient="horz" pos="3545" userDrawn="1">
          <p15:clr>
            <a:srgbClr val="A4A3A4"/>
          </p15:clr>
        </p15:guide>
        <p15:guide id="10" orient="horz" pos="4319" userDrawn="1">
          <p15:clr>
            <a:srgbClr val="A4A3A4"/>
          </p15:clr>
        </p15:guide>
        <p15:guide id="11" orient="horz" pos="3392" userDrawn="1">
          <p15:clr>
            <a:srgbClr val="A4A3A4"/>
          </p15:clr>
        </p15:guide>
        <p15:guide id="12" orient="horz" pos="3396" userDrawn="1">
          <p15:clr>
            <a:srgbClr val="A4A3A4"/>
          </p15:clr>
        </p15:guide>
        <p15:guide id="13" orient="horz" pos="3353" userDrawn="1">
          <p15:clr>
            <a:srgbClr val="A4A3A4"/>
          </p15:clr>
        </p15:guide>
        <p15:guide id="14" pos="6238" userDrawn="1">
          <p15:clr>
            <a:srgbClr val="A4A3A4"/>
          </p15:clr>
        </p15:guide>
        <p15:guide id="15" pos="3091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Кузьминов Илья Филиппович" initials="КИФ" lastIdx="2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6666"/>
    <a:srgbClr val="E0E0E0"/>
    <a:srgbClr val="C9EEFF"/>
    <a:srgbClr val="D5F2FF"/>
    <a:srgbClr val="970F0E"/>
    <a:srgbClr val="B9D4ED"/>
    <a:srgbClr val="FDEDED"/>
    <a:srgbClr val="3CA341"/>
    <a:srgbClr val="FCEAD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808" autoAdjust="0"/>
    <p:restoredTop sz="93141" autoAdjust="0"/>
  </p:normalViewPr>
  <p:slideViewPr>
    <p:cSldViewPr snapToGrid="0">
      <p:cViewPr>
        <p:scale>
          <a:sx n="49" d="100"/>
          <a:sy n="49" d="100"/>
        </p:scale>
        <p:origin x="-1336" y="-48"/>
      </p:cViewPr>
      <p:guideLst>
        <p:guide orient="horz" pos="5376"/>
        <p:guide orient="horz" pos="8063"/>
        <p:guide orient="horz" pos="5386"/>
        <p:guide orient="horz"/>
        <p:guide orient="horz" pos="6339"/>
        <p:guide orient="horz" pos="6259"/>
        <p:guide orient="horz" pos="4963"/>
        <p:guide orient="horz" pos="6047"/>
        <p:guide orient="horz" pos="4749"/>
        <p:guide orient="horz" pos="4754"/>
        <p:guide orient="horz" pos="4694"/>
        <p:guide pos="8063"/>
        <p:guide pos="501"/>
        <p:guide pos="8061"/>
        <p:guide pos="399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15" d="100"/>
          <a:sy n="115" d="100"/>
        </p:scale>
        <p:origin x="4440" y="21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1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4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3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7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6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2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5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7" y="3"/>
            <a:ext cx="2946145" cy="496968"/>
          </a:xfrm>
          <a:prstGeom prst="rect">
            <a:avLst/>
          </a:prstGeom>
        </p:spPr>
        <p:txBody>
          <a:bodyPr vert="horz" lIns="91016" tIns="45508" rIns="91016" bIns="4550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911" y="3"/>
            <a:ext cx="2946144" cy="496968"/>
          </a:xfrm>
          <a:prstGeom prst="rect">
            <a:avLst/>
          </a:prstGeom>
        </p:spPr>
        <p:txBody>
          <a:bodyPr vert="horz" lIns="91016" tIns="45508" rIns="91016" bIns="45508" rtlCol="0"/>
          <a:lstStyle>
            <a:lvl1pPr algn="r">
              <a:defRPr sz="1200"/>
            </a:lvl1pPr>
          </a:lstStyle>
          <a:p>
            <a:fld id="{09DD44D3-B20C-4110-B4C3-989ED5D91CC6}" type="datetimeFigureOut">
              <a:rPr lang="ru-RU" smtClean="0"/>
              <a:t>08.08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7" y="9429674"/>
            <a:ext cx="2946145" cy="496966"/>
          </a:xfrm>
          <a:prstGeom prst="rect">
            <a:avLst/>
          </a:prstGeom>
        </p:spPr>
        <p:txBody>
          <a:bodyPr vert="horz" lIns="91016" tIns="45508" rIns="91016" bIns="4550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911" y="9429674"/>
            <a:ext cx="2946144" cy="496966"/>
          </a:xfrm>
          <a:prstGeom prst="rect">
            <a:avLst/>
          </a:prstGeom>
        </p:spPr>
        <p:txBody>
          <a:bodyPr vert="horz" lIns="91016" tIns="45508" rIns="91016" bIns="45508" rtlCol="0" anchor="b"/>
          <a:lstStyle>
            <a:lvl1pPr algn="r">
              <a:defRPr sz="1200"/>
            </a:lvl1pPr>
          </a:lstStyle>
          <a:p>
            <a:fld id="{0851724B-591E-4FC1-91E3-0FAA56727CE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68805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5"/>
            <a:ext cx="2946400" cy="498008"/>
          </a:xfrm>
          <a:prstGeom prst="rect">
            <a:avLst/>
          </a:prstGeom>
        </p:spPr>
        <p:txBody>
          <a:bodyPr vert="horz" lIns="91347" tIns="45673" rIns="91347" bIns="45673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92" y="5"/>
            <a:ext cx="2946400" cy="498008"/>
          </a:xfrm>
          <a:prstGeom prst="rect">
            <a:avLst/>
          </a:prstGeom>
        </p:spPr>
        <p:txBody>
          <a:bodyPr vert="horz" lIns="91347" tIns="45673" rIns="91347" bIns="45673" rtlCol="0"/>
          <a:lstStyle>
            <a:lvl1pPr algn="r">
              <a:defRPr sz="1200"/>
            </a:lvl1pPr>
          </a:lstStyle>
          <a:p>
            <a:fld id="{24F81CC6-A09A-4E93-A001-D53AA2E076B4}" type="datetimeFigureOut">
              <a:rPr lang="ru-RU" smtClean="0"/>
              <a:pPr/>
              <a:t>08.08.2017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3013"/>
            <a:ext cx="4467225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47" tIns="45673" rIns="91347" bIns="45673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4" y="4777369"/>
            <a:ext cx="5438774" cy="3910634"/>
          </a:xfrm>
          <a:prstGeom prst="rect">
            <a:avLst/>
          </a:prstGeom>
        </p:spPr>
        <p:txBody>
          <a:bodyPr vert="horz" lIns="91347" tIns="45673" rIns="91347" bIns="45673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30219"/>
            <a:ext cx="2946400" cy="498008"/>
          </a:xfrm>
          <a:prstGeom prst="rect">
            <a:avLst/>
          </a:prstGeom>
        </p:spPr>
        <p:txBody>
          <a:bodyPr vert="horz" lIns="91347" tIns="45673" rIns="91347" bIns="45673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92" y="9430219"/>
            <a:ext cx="2946400" cy="498008"/>
          </a:xfrm>
          <a:prstGeom prst="rect">
            <a:avLst/>
          </a:prstGeom>
        </p:spPr>
        <p:txBody>
          <a:bodyPr vert="horz" lIns="91347" tIns="45673" rIns="91347" bIns="45673" rtlCol="0" anchor="b"/>
          <a:lstStyle>
            <a:lvl1pPr algn="r">
              <a:defRPr sz="1200"/>
            </a:lvl1pPr>
          </a:lstStyle>
          <a:p>
            <a:fld id="{96FDD2EA-510C-4894-994B-5013F2A4AF65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04778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431709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715854" algn="l" defTabSz="1431709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431709" algn="l" defTabSz="1431709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2147566" algn="l" defTabSz="1431709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863426" algn="l" defTabSz="1431709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3579276" algn="l" defTabSz="1431709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4295131" algn="l" defTabSz="1431709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5010985" algn="l" defTabSz="1431709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5726843" algn="l" defTabSz="1431709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.png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.png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.png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10.png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.png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10.png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2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2.png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10.png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3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2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4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2.png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2.png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6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2.png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6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7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7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.bin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7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7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8.bin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7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7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png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.png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1 (просто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7694296" y="7741367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13" y="8696485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1"/>
          <p:cNvSpPr txBox="1">
            <a:spLocks/>
          </p:cNvSpPr>
          <p:nvPr userDrawn="1"/>
        </p:nvSpPr>
        <p:spPr>
          <a:xfrm>
            <a:off x="1416750" y="8383309"/>
            <a:ext cx="754221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latin typeface="+mj-lt"/>
              </a:rPr>
              <a:t>Институт статистических исследований и экономики знаний</a:t>
            </a: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3202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Рисунок 8"/>
          <p:cNvSpPr>
            <a:spLocks noGrp="1"/>
          </p:cNvSpPr>
          <p:nvPr>
            <p:ph type="pic" sz="quarter" idx="12"/>
          </p:nvPr>
        </p:nvSpPr>
        <p:spPr>
          <a:xfrm>
            <a:off x="7990353" y="1845579"/>
            <a:ext cx="4587241" cy="7243573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41" y="1813564"/>
            <a:ext cx="7147559" cy="7286244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6823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5 (тематическое фот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799529" y="5024302"/>
            <a:ext cx="11180635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2"/>
          </p:nvPr>
        </p:nvSpPr>
        <p:spPr>
          <a:xfrm>
            <a:off x="0" y="202272"/>
            <a:ext cx="12801600" cy="4596131"/>
          </a:xfrm>
          <a:prstGeom prst="rect">
            <a:avLst/>
          </a:prstGeom>
        </p:spPr>
        <p:txBody>
          <a:bodyPr lIns="122055" tIns="61029" rIns="122055" bIns="61029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5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7694295" y="7850795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6" name="Текст 3"/>
          <p:cNvSpPr>
            <a:spLocks noGrp="1"/>
          </p:cNvSpPr>
          <p:nvPr>
            <p:ph type="body" sz="quarter" idx="15"/>
          </p:nvPr>
        </p:nvSpPr>
        <p:spPr>
          <a:xfrm>
            <a:off x="7625407" y="8552548"/>
            <a:ext cx="4980622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1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798" y="8477623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3506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новой главы/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584520" y="3392427"/>
            <a:ext cx="11628120" cy="2827020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ctr">
              <a:defRPr sz="5200" b="1">
                <a:solidFill>
                  <a:srgbClr val="1C5C99"/>
                </a:solidFill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1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798" y="8477623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6629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6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946" y="404529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2" y="384502"/>
            <a:ext cx="1135075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55421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336053" y="384502"/>
            <a:ext cx="12252199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3330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текстов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578205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6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946" y="404529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2" y="384502"/>
            <a:ext cx="1128674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Holder 3"/>
          <p:cNvSpPr>
            <a:spLocks noGrp="1"/>
          </p:cNvSpPr>
          <p:nvPr>
            <p:ph type="body" idx="10" hasCustomPrompt="1"/>
          </p:nvPr>
        </p:nvSpPr>
        <p:spPr>
          <a:xfrm>
            <a:off x="6602428" y="1813564"/>
            <a:ext cx="5964482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2088510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Рисунок 8"/>
          <p:cNvSpPr>
            <a:spLocks noGrp="1"/>
          </p:cNvSpPr>
          <p:nvPr>
            <p:ph type="pic" sz="quarter" idx="12"/>
          </p:nvPr>
        </p:nvSpPr>
        <p:spPr>
          <a:xfrm>
            <a:off x="7990332" y="1845578"/>
            <a:ext cx="4587240" cy="7243573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29" y="1813564"/>
            <a:ext cx="7147559" cy="7286244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946" y="404529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72496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Диаграмма 8"/>
          <p:cNvSpPr>
            <a:spLocks noGrp="1"/>
          </p:cNvSpPr>
          <p:nvPr>
            <p:ph type="chart" sz="quarter" idx="12"/>
          </p:nvPr>
        </p:nvSpPr>
        <p:spPr>
          <a:xfrm>
            <a:off x="7872987" y="1845568"/>
            <a:ext cx="4725924" cy="7008876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диаграммы</a:t>
            </a: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30" y="1813558"/>
            <a:ext cx="7190231" cy="7061757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pic>
        <p:nvPicPr>
          <p:cNvPr id="10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946" y="404529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2799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946" y="404529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722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всем 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55761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017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Диаграмма 8"/>
          <p:cNvSpPr>
            <a:spLocks noGrp="1"/>
          </p:cNvSpPr>
          <p:nvPr>
            <p:ph type="chart" sz="quarter" idx="12"/>
          </p:nvPr>
        </p:nvSpPr>
        <p:spPr>
          <a:xfrm>
            <a:off x="7872987" y="1845568"/>
            <a:ext cx="4725924" cy="7008876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диаграммы</a:t>
            </a: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36" y="1813560"/>
            <a:ext cx="7190231" cy="7061757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3069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2207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8600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58838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2278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66945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18622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1 (просто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7694296" y="7741367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13" y="8696485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1"/>
          <p:cNvSpPr txBox="1">
            <a:spLocks/>
          </p:cNvSpPr>
          <p:nvPr userDrawn="1"/>
        </p:nvSpPr>
        <p:spPr>
          <a:xfrm>
            <a:off x="1416750" y="8383309"/>
            <a:ext cx="754221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6955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2 (фирменный узор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D:\Инфографика\ВШЭ\00_Презентации и материалы\Материалы для наших презентаций\Материалы для экспериментов-09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95"/>
          <a:stretch/>
        </p:blipFill>
        <p:spPr bwMode="auto">
          <a:xfrm>
            <a:off x="0" y="0"/>
            <a:ext cx="12801600" cy="960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1613980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chemeClr val="bg1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3944937" y="5531359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ctr">
              <a:buNone/>
              <a:defRPr sz="3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13" y="86201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7" name="Picture 3" descr="D:\Инфографика\ВШЭ\00_Презентации и материалы\Материалы для наших презентаций\Логотип\Лого для легкой презентации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4621" y="6400830"/>
            <a:ext cx="2907918" cy="3044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4608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3 (угловые узоры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7"/>
          <p:cNvSpPr/>
          <p:nvPr userDrawn="1"/>
        </p:nvSpPr>
        <p:spPr>
          <a:xfrm>
            <a:off x="4" y="36"/>
            <a:ext cx="12801597" cy="2627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055" tIns="61029" rIns="122055" bIns="61029" rtlCol="0" anchor="ctr"/>
          <a:lstStyle/>
          <a:p>
            <a:pPr algn="ctr"/>
            <a:endParaRPr lang="ru-RU" sz="3100" dirty="0">
              <a:solidFill>
                <a:srgbClr val="FFFFFF"/>
              </a:solidFill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" y="39"/>
            <a:ext cx="3773805" cy="4547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1159" y="5051331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961258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4892373" y="78466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720962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4 (угловые узоры.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160" y="208054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26667" y="5051331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6383394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6314509" y="78466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Footer Placeholder 1"/>
          <p:cNvSpPr txBox="1">
            <a:spLocks/>
          </p:cNvSpPr>
          <p:nvPr userDrawn="1"/>
        </p:nvSpPr>
        <p:spPr>
          <a:xfrm>
            <a:off x="1416750" y="721511"/>
            <a:ext cx="754221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  <p:pic>
        <p:nvPicPr>
          <p:cNvPr id="1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413665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8950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7627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5 (тематическое фот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799560" y="5024302"/>
            <a:ext cx="1118063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2"/>
          </p:nvPr>
        </p:nvSpPr>
        <p:spPr>
          <a:xfrm>
            <a:off x="0" y="202279"/>
            <a:ext cx="12801600" cy="4596131"/>
          </a:xfrm>
          <a:prstGeom prst="rect">
            <a:avLst/>
          </a:prstGeom>
        </p:spPr>
        <p:txBody>
          <a:bodyPr lIns="122055" tIns="61029" rIns="122055" bIns="61029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5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7694296" y="7850801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6" name="Текст 3"/>
          <p:cNvSpPr>
            <a:spLocks noGrp="1"/>
          </p:cNvSpPr>
          <p:nvPr>
            <p:ph type="body" sz="quarter" idx="15"/>
          </p:nvPr>
        </p:nvSpPr>
        <p:spPr>
          <a:xfrm>
            <a:off x="7625413" y="8552555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6233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новой главы/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584553" y="3392427"/>
            <a:ext cx="11628121" cy="2827020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ctr">
              <a:defRPr sz="5200" b="1">
                <a:solidFill>
                  <a:srgbClr val="1C5C99"/>
                </a:solidFill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5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388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2" y="384502"/>
            <a:ext cx="1135075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87816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336053" y="384502"/>
            <a:ext cx="12252199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68147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текстов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29" y="1813564"/>
            <a:ext cx="5782057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527" y="384502"/>
            <a:ext cx="11286745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Holder 3"/>
          <p:cNvSpPr>
            <a:spLocks noGrp="1"/>
          </p:cNvSpPr>
          <p:nvPr>
            <p:ph type="body" idx="10" hasCustomPrompt="1"/>
          </p:nvPr>
        </p:nvSpPr>
        <p:spPr>
          <a:xfrm>
            <a:off x="6602450" y="1813564"/>
            <a:ext cx="5964483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47903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Рисунок 8"/>
          <p:cNvSpPr>
            <a:spLocks noGrp="1"/>
          </p:cNvSpPr>
          <p:nvPr>
            <p:ph type="pic" sz="quarter" idx="12"/>
          </p:nvPr>
        </p:nvSpPr>
        <p:spPr>
          <a:xfrm>
            <a:off x="7990353" y="1845579"/>
            <a:ext cx="4587241" cy="7243573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41" y="1813564"/>
            <a:ext cx="7147559" cy="7286244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7956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Диаграмма 8"/>
          <p:cNvSpPr>
            <a:spLocks noGrp="1"/>
          </p:cNvSpPr>
          <p:nvPr>
            <p:ph type="chart" sz="quarter" idx="12"/>
          </p:nvPr>
        </p:nvSpPr>
        <p:spPr>
          <a:xfrm>
            <a:off x="7872987" y="1845568"/>
            <a:ext cx="4725924" cy="7008876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диаграммы</a:t>
            </a: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36" y="1813560"/>
            <a:ext cx="7190231" cy="7061757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90576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7168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всем 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216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51034" y="0"/>
            <a:ext cx="10378929" cy="1665586"/>
          </a:xfrm>
          <a:prstGeom prst="rect">
            <a:avLst/>
          </a:prstGeom>
        </p:spPr>
        <p:txBody>
          <a:bodyPr lIns="122055" tIns="61029" rIns="122055" bIns="61029"/>
          <a:lstStyle>
            <a:lvl1pPr algn="l">
              <a:defRPr sz="45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080" y="2240289"/>
            <a:ext cx="11521440" cy="6336348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buFont typeface="Wingdings" pitchFamily="2" charset="2"/>
              <a:buChar char="v"/>
              <a:defRPr/>
            </a:lvl1pPr>
            <a:lvl2pPr>
              <a:buFont typeface="Wingdings" pitchFamily="2" charset="2"/>
              <a:buChar char="§"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51155" y="8898915"/>
            <a:ext cx="2987040" cy="511175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defRPr sz="1300">
                <a:latin typeface="+mn-lt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3880" y="8898915"/>
            <a:ext cx="4053840" cy="511175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defRPr sz="13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36734" y="8898915"/>
            <a:ext cx="2987040" cy="511175"/>
          </a:xfrm>
        </p:spPr>
        <p:txBody>
          <a:bodyPr/>
          <a:lstStyle>
            <a:lvl1pPr>
              <a:defRPr sz="1300"/>
            </a:lvl1pPr>
          </a:lstStyle>
          <a:p>
            <a:pPr>
              <a:defRPr/>
            </a:pPr>
            <a:fld id="{52F11DBE-FC88-4D7E-84D2-61CD5E917187}" type="slidenum">
              <a:rPr lang="en-US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23413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всем 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47735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946" y="404529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2500" b="1">
                <a:latin typeface="Myriad Pro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Myriad Pro" pitchFamily="34" charset="0"/>
                <a:cs typeface="Myriad Arabic" pitchFamily="50" charset="-78"/>
              </a:defRPr>
            </a:lvl1pPr>
          </a:lstStyle>
          <a:p>
            <a:pPr marL="27549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27549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243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2774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3318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3017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05384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2079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3876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3750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1 (просто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7694296" y="7741367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13" y="8696485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1"/>
          <p:cNvSpPr txBox="1">
            <a:spLocks/>
          </p:cNvSpPr>
          <p:nvPr userDrawn="1"/>
        </p:nvSpPr>
        <p:spPr>
          <a:xfrm>
            <a:off x="1416750" y="8383309"/>
            <a:ext cx="754221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3478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2 (фирменный узор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D:\Инфографика\ВШЭ\00_Презентации и материалы\Материалы для наших презентаций\Материалы для экспериментов-09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95"/>
          <a:stretch/>
        </p:blipFill>
        <p:spPr bwMode="auto">
          <a:xfrm>
            <a:off x="0" y="0"/>
            <a:ext cx="12801600" cy="960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1613980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chemeClr val="bg1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3944937" y="5531359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ctr">
              <a:buNone/>
              <a:defRPr sz="3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13" y="86201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7" name="Picture 3" descr="D:\Инфографика\ВШЭ\00_Презентации и материалы\Материалы для наших презентаций\Логотип\Лого для легкой презентации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4621" y="6400830"/>
            <a:ext cx="2907918" cy="3044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165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640080" y="384495"/>
            <a:ext cx="11521440" cy="1600200"/>
          </a:xfrm>
          <a:prstGeom prst="rect">
            <a:avLst/>
          </a:prstGeom>
        </p:spPr>
        <p:txBody>
          <a:bodyPr lIns="122055" tIns="61029" rIns="122055" bIns="61029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40080" y="2240289"/>
            <a:ext cx="11521440" cy="6336348"/>
          </a:xfrm>
          <a:prstGeom prst="rect">
            <a:avLst/>
          </a:prstGeom>
        </p:spPr>
        <p:txBody>
          <a:bodyPr lIns="122055" tIns="61029" rIns="122055" bIns="6102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40080" y="8898915"/>
            <a:ext cx="2987040" cy="511175"/>
          </a:xfrm>
          <a:prstGeom prst="rect">
            <a:avLst/>
          </a:prstGeom>
        </p:spPr>
        <p:txBody>
          <a:bodyPr lIns="122055" tIns="61029" rIns="122055" bIns="61029"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373880" y="8898915"/>
            <a:ext cx="4053840" cy="511175"/>
          </a:xfrm>
          <a:prstGeom prst="rect">
            <a:avLst/>
          </a:prstGeom>
        </p:spPr>
        <p:txBody>
          <a:bodyPr lIns="122055" tIns="61029" rIns="122055" bIns="61029"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B0AEE5-8C8C-444B-BD40-19BE6AA1AF5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114214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3 (угловые узоры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7"/>
          <p:cNvSpPr/>
          <p:nvPr userDrawn="1"/>
        </p:nvSpPr>
        <p:spPr>
          <a:xfrm>
            <a:off x="4" y="36"/>
            <a:ext cx="12801597" cy="2627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055" tIns="61029" rIns="122055" bIns="61029" rtlCol="0" anchor="ctr"/>
          <a:lstStyle/>
          <a:p>
            <a:pPr algn="ctr"/>
            <a:endParaRPr lang="ru-RU" sz="3100" dirty="0">
              <a:solidFill>
                <a:srgbClr val="FFFFFF"/>
              </a:solidFill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" y="39"/>
            <a:ext cx="3773805" cy="4547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1159" y="5051331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961258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4892373" y="78466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7047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4 (угловые узоры.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160" y="208054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26667" y="5051331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6383394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6314509" y="78466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Footer Placeholder 1"/>
          <p:cNvSpPr txBox="1">
            <a:spLocks/>
          </p:cNvSpPr>
          <p:nvPr userDrawn="1"/>
        </p:nvSpPr>
        <p:spPr>
          <a:xfrm>
            <a:off x="1416750" y="721511"/>
            <a:ext cx="754221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  <p:pic>
        <p:nvPicPr>
          <p:cNvPr id="1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413665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8736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5 (тематическое фот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799560" y="5024302"/>
            <a:ext cx="1118063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2"/>
          </p:nvPr>
        </p:nvSpPr>
        <p:spPr>
          <a:xfrm>
            <a:off x="0" y="202279"/>
            <a:ext cx="12801600" cy="4596131"/>
          </a:xfrm>
          <a:prstGeom prst="rect">
            <a:avLst/>
          </a:prstGeom>
        </p:spPr>
        <p:txBody>
          <a:bodyPr lIns="122055" tIns="61029" rIns="122055" bIns="61029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5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7694296" y="7850801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6" name="Текст 3"/>
          <p:cNvSpPr>
            <a:spLocks noGrp="1"/>
          </p:cNvSpPr>
          <p:nvPr>
            <p:ph type="body" sz="quarter" idx="15"/>
          </p:nvPr>
        </p:nvSpPr>
        <p:spPr>
          <a:xfrm>
            <a:off x="7625413" y="8552555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8332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новой главы/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584553" y="3392427"/>
            <a:ext cx="11628121" cy="2827020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ctr">
              <a:defRPr sz="5200" b="1">
                <a:solidFill>
                  <a:srgbClr val="1C5C99"/>
                </a:solidFill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5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3765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2" y="384502"/>
            <a:ext cx="1135075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9015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336053" y="384502"/>
            <a:ext cx="12252199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7951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текстов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29" y="1813564"/>
            <a:ext cx="5782057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527" y="384502"/>
            <a:ext cx="11286745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Holder 3"/>
          <p:cNvSpPr>
            <a:spLocks noGrp="1"/>
          </p:cNvSpPr>
          <p:nvPr>
            <p:ph type="body" idx="10" hasCustomPrompt="1"/>
          </p:nvPr>
        </p:nvSpPr>
        <p:spPr>
          <a:xfrm>
            <a:off x="6602450" y="1813564"/>
            <a:ext cx="5964483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1587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Рисунок 8"/>
          <p:cNvSpPr>
            <a:spLocks noGrp="1"/>
          </p:cNvSpPr>
          <p:nvPr>
            <p:ph type="pic" sz="quarter" idx="12"/>
          </p:nvPr>
        </p:nvSpPr>
        <p:spPr>
          <a:xfrm>
            <a:off x="7990353" y="1845579"/>
            <a:ext cx="4587241" cy="7243573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41" y="1813564"/>
            <a:ext cx="7147559" cy="7286244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80963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Диаграмма 8"/>
          <p:cNvSpPr>
            <a:spLocks noGrp="1"/>
          </p:cNvSpPr>
          <p:nvPr>
            <p:ph type="chart" sz="quarter" idx="12"/>
          </p:nvPr>
        </p:nvSpPr>
        <p:spPr>
          <a:xfrm>
            <a:off x="7872987" y="1845568"/>
            <a:ext cx="4725924" cy="7008876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диаграммы</a:t>
            </a: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36" y="1813560"/>
            <a:ext cx="7190231" cy="7061757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3252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4823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7651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всем 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933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51034" y="0"/>
            <a:ext cx="10378929" cy="1665586"/>
          </a:xfrm>
          <a:prstGeom prst="rect">
            <a:avLst/>
          </a:prstGeom>
        </p:spPr>
        <p:txBody>
          <a:bodyPr lIns="122055" tIns="61029" rIns="122055" bIns="61029"/>
          <a:lstStyle>
            <a:lvl1pPr algn="l">
              <a:defRPr sz="45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080" y="2240289"/>
            <a:ext cx="11521440" cy="6336348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buFont typeface="Wingdings" pitchFamily="2" charset="2"/>
              <a:buChar char="v"/>
              <a:defRPr/>
            </a:lvl1pPr>
            <a:lvl2pPr>
              <a:buFont typeface="Wingdings" pitchFamily="2" charset="2"/>
              <a:buChar char="§"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51155" y="8898915"/>
            <a:ext cx="2987040" cy="511175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defRPr sz="1300">
                <a:latin typeface="+mn-lt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3880" y="8898915"/>
            <a:ext cx="4053840" cy="511175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defRPr sz="13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36734" y="8898915"/>
            <a:ext cx="2987040" cy="511175"/>
          </a:xfrm>
        </p:spPr>
        <p:txBody>
          <a:bodyPr/>
          <a:lstStyle>
            <a:lvl1pPr>
              <a:defRPr sz="1300"/>
            </a:lvl1pPr>
          </a:lstStyle>
          <a:p>
            <a:pPr>
              <a:defRPr/>
            </a:pPr>
            <a:fld id="{52F11DBE-FC88-4D7E-84D2-61CD5E917187}" type="slidenum">
              <a:rPr lang="en-US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459910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3850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6684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1469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0086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963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6481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911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1 (просто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7694296" y="7741367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13" y="8696485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1"/>
          <p:cNvSpPr txBox="1">
            <a:spLocks/>
          </p:cNvSpPr>
          <p:nvPr userDrawn="1"/>
        </p:nvSpPr>
        <p:spPr>
          <a:xfrm>
            <a:off x="1416750" y="8383309"/>
            <a:ext cx="754221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6091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2886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2 (фирменный узор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D:\Инфографика\ВШЭ\00_Презентации и материалы\Материалы для наших презентаций\Материалы для экспериментов-09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95"/>
          <a:stretch/>
        </p:blipFill>
        <p:spPr bwMode="auto">
          <a:xfrm>
            <a:off x="0" y="0"/>
            <a:ext cx="12801600" cy="960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1613980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chemeClr val="bg1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3944937" y="5531359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ctr">
              <a:buNone/>
              <a:defRPr sz="3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13" y="86201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7" name="Picture 3" descr="D:\Инфографика\ВШЭ\00_Презентации и материалы\Материалы для наших презентаций\Логотип\Лого для легкой презентации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4621" y="6400830"/>
            <a:ext cx="2907918" cy="3044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5984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3 (угловые узоры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7"/>
          <p:cNvSpPr/>
          <p:nvPr userDrawn="1"/>
        </p:nvSpPr>
        <p:spPr>
          <a:xfrm>
            <a:off x="4" y="36"/>
            <a:ext cx="12801597" cy="2627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055" tIns="61029" rIns="122055" bIns="61029" rtlCol="0" anchor="ctr"/>
          <a:lstStyle/>
          <a:p>
            <a:pPr algn="ctr"/>
            <a:endParaRPr lang="ru-RU" sz="3100" dirty="0">
              <a:solidFill>
                <a:srgbClr val="FFFFFF"/>
              </a:solidFill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" y="39"/>
            <a:ext cx="3773805" cy="4547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1159" y="5051331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961258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4892373" y="78466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53476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4 (угловые узоры.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160" y="208054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26667" y="5051331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6383394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6314509" y="78466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Footer Placeholder 1"/>
          <p:cNvSpPr txBox="1">
            <a:spLocks/>
          </p:cNvSpPr>
          <p:nvPr userDrawn="1"/>
        </p:nvSpPr>
        <p:spPr>
          <a:xfrm>
            <a:off x="1416750" y="721511"/>
            <a:ext cx="754221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  <p:pic>
        <p:nvPicPr>
          <p:cNvPr id="1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413665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6085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5 (тематическое фот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799560" y="5024302"/>
            <a:ext cx="1118063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2"/>
          </p:nvPr>
        </p:nvSpPr>
        <p:spPr>
          <a:xfrm>
            <a:off x="0" y="202279"/>
            <a:ext cx="12801600" cy="4596131"/>
          </a:xfrm>
          <a:prstGeom prst="rect">
            <a:avLst/>
          </a:prstGeom>
        </p:spPr>
        <p:txBody>
          <a:bodyPr lIns="122055" tIns="61029" rIns="122055" bIns="61029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5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7694296" y="7850801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6" name="Текст 3"/>
          <p:cNvSpPr>
            <a:spLocks noGrp="1"/>
          </p:cNvSpPr>
          <p:nvPr>
            <p:ph type="body" sz="quarter" idx="15"/>
          </p:nvPr>
        </p:nvSpPr>
        <p:spPr>
          <a:xfrm>
            <a:off x="7625413" y="8552555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7291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новой главы/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584553" y="3392427"/>
            <a:ext cx="11628121" cy="2827020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ctr">
              <a:defRPr sz="5200" b="1">
                <a:solidFill>
                  <a:srgbClr val="1C5C99"/>
                </a:solidFill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5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2038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2" y="384502"/>
            <a:ext cx="1135075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8343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336053" y="384502"/>
            <a:ext cx="12252199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04847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текстов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29" y="1813564"/>
            <a:ext cx="5782057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527" y="384502"/>
            <a:ext cx="11286745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Holder 3"/>
          <p:cNvSpPr>
            <a:spLocks noGrp="1"/>
          </p:cNvSpPr>
          <p:nvPr>
            <p:ph type="body" idx="10" hasCustomPrompt="1"/>
          </p:nvPr>
        </p:nvSpPr>
        <p:spPr>
          <a:xfrm>
            <a:off x="6602450" y="1813564"/>
            <a:ext cx="5964483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2312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Рисунок 8"/>
          <p:cNvSpPr>
            <a:spLocks noGrp="1"/>
          </p:cNvSpPr>
          <p:nvPr>
            <p:ph type="pic" sz="quarter" idx="12"/>
          </p:nvPr>
        </p:nvSpPr>
        <p:spPr>
          <a:xfrm>
            <a:off x="7990353" y="1845579"/>
            <a:ext cx="4587241" cy="7243573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41" y="1813564"/>
            <a:ext cx="7147559" cy="7286244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8374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Диаграмма 8"/>
          <p:cNvSpPr>
            <a:spLocks noGrp="1"/>
          </p:cNvSpPr>
          <p:nvPr>
            <p:ph type="chart" sz="quarter" idx="12"/>
          </p:nvPr>
        </p:nvSpPr>
        <p:spPr>
          <a:xfrm>
            <a:off x="7872987" y="1845568"/>
            <a:ext cx="4725924" cy="7008876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диаграммы</a:t>
            </a: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36" y="1813560"/>
            <a:ext cx="7190231" cy="7061757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5177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69557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7137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всем 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09662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51034" y="0"/>
            <a:ext cx="10378929" cy="1665586"/>
          </a:xfrm>
          <a:prstGeom prst="rect">
            <a:avLst/>
          </a:prstGeom>
        </p:spPr>
        <p:txBody>
          <a:bodyPr lIns="122055" tIns="61029" rIns="122055" bIns="61029"/>
          <a:lstStyle>
            <a:lvl1pPr algn="l">
              <a:defRPr sz="45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080" y="2240289"/>
            <a:ext cx="11521440" cy="6336348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buFont typeface="Wingdings" pitchFamily="2" charset="2"/>
              <a:buChar char="v"/>
              <a:defRPr/>
            </a:lvl1pPr>
            <a:lvl2pPr>
              <a:buFont typeface="Wingdings" pitchFamily="2" charset="2"/>
              <a:buChar char="§"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51155" y="8898915"/>
            <a:ext cx="2987040" cy="511175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defRPr sz="1300">
                <a:latin typeface="+mn-lt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3880" y="8898915"/>
            <a:ext cx="4053840" cy="511175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defRPr sz="13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36734" y="8898915"/>
            <a:ext cx="2987040" cy="511175"/>
          </a:xfrm>
        </p:spPr>
        <p:txBody>
          <a:bodyPr/>
          <a:lstStyle>
            <a:lvl1pPr>
              <a:defRPr sz="1300"/>
            </a:lvl1pPr>
          </a:lstStyle>
          <a:p>
            <a:pPr>
              <a:defRPr/>
            </a:pPr>
            <a:fld id="{52F11DBE-FC88-4D7E-84D2-61CD5E917187}" type="slidenum">
              <a:rPr lang="en-US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82180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99707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8569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4235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3278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9327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50696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125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2514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1 (просто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7694296" y="7741367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13" y="8696485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1"/>
          <p:cNvSpPr txBox="1">
            <a:spLocks/>
          </p:cNvSpPr>
          <p:nvPr userDrawn="1"/>
        </p:nvSpPr>
        <p:spPr>
          <a:xfrm>
            <a:off x="1416750" y="8383309"/>
            <a:ext cx="754221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12669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2 (фирменный узор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D:\Инфографика\ВШЭ\00_Презентации и материалы\Материалы для наших презентаций\Материалы для экспериментов-09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95"/>
          <a:stretch/>
        </p:blipFill>
        <p:spPr bwMode="auto">
          <a:xfrm>
            <a:off x="0" y="0"/>
            <a:ext cx="12801600" cy="960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1613980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chemeClr val="bg1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3944937" y="5531359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ctr">
              <a:buNone/>
              <a:defRPr sz="3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13" y="86201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7" name="Picture 3" descr="D:\Инфографика\ВШЭ\00_Презентации и материалы\Материалы для наших презентаций\Логотип\Лого для легкой презентации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4621" y="6400830"/>
            <a:ext cx="2907918" cy="3044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0518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3 (угловые узоры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7"/>
          <p:cNvSpPr/>
          <p:nvPr userDrawn="1"/>
        </p:nvSpPr>
        <p:spPr>
          <a:xfrm>
            <a:off x="4" y="36"/>
            <a:ext cx="12801597" cy="2627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055" tIns="61029" rIns="122055" bIns="61029" rtlCol="0" anchor="ctr"/>
          <a:lstStyle/>
          <a:p>
            <a:pPr algn="ctr"/>
            <a:endParaRPr lang="ru-RU" sz="3100" dirty="0">
              <a:solidFill>
                <a:srgbClr val="FFFFFF"/>
              </a:solidFill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" y="39"/>
            <a:ext cx="3773805" cy="4547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1159" y="5051331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961258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4892373" y="78466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175923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4 (угловые узоры.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160" y="208054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26667" y="5051331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6383394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6314509" y="78466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Footer Placeholder 1"/>
          <p:cNvSpPr txBox="1">
            <a:spLocks/>
          </p:cNvSpPr>
          <p:nvPr userDrawn="1"/>
        </p:nvSpPr>
        <p:spPr>
          <a:xfrm>
            <a:off x="1416750" y="721511"/>
            <a:ext cx="754221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  <p:pic>
        <p:nvPicPr>
          <p:cNvPr id="1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413665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09894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5 (тематическое фот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799560" y="5024302"/>
            <a:ext cx="1118063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2"/>
          </p:nvPr>
        </p:nvSpPr>
        <p:spPr>
          <a:xfrm>
            <a:off x="0" y="202279"/>
            <a:ext cx="12801600" cy="4596131"/>
          </a:xfrm>
          <a:prstGeom prst="rect">
            <a:avLst/>
          </a:prstGeom>
        </p:spPr>
        <p:txBody>
          <a:bodyPr lIns="122055" tIns="61029" rIns="122055" bIns="61029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5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7694296" y="7850801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6" name="Текст 3"/>
          <p:cNvSpPr>
            <a:spLocks noGrp="1"/>
          </p:cNvSpPr>
          <p:nvPr>
            <p:ph type="body" sz="quarter" idx="15"/>
          </p:nvPr>
        </p:nvSpPr>
        <p:spPr>
          <a:xfrm>
            <a:off x="7625413" y="8552555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93631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новой главы/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584553" y="3392427"/>
            <a:ext cx="11628121" cy="2827020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ctr">
              <a:defRPr sz="5200" b="1">
                <a:solidFill>
                  <a:srgbClr val="1C5C99"/>
                </a:solidFill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5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2087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2" y="384502"/>
            <a:ext cx="1135075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58060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336053" y="384502"/>
            <a:ext cx="12252199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26652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текстов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29" y="1813564"/>
            <a:ext cx="5782057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527" y="384502"/>
            <a:ext cx="11286745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Holder 3"/>
          <p:cNvSpPr>
            <a:spLocks noGrp="1"/>
          </p:cNvSpPr>
          <p:nvPr>
            <p:ph type="body" idx="10" hasCustomPrompt="1"/>
          </p:nvPr>
        </p:nvSpPr>
        <p:spPr>
          <a:xfrm>
            <a:off x="6602450" y="1813564"/>
            <a:ext cx="5964483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5704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Рисунок 8"/>
          <p:cNvSpPr>
            <a:spLocks noGrp="1"/>
          </p:cNvSpPr>
          <p:nvPr>
            <p:ph type="pic" sz="quarter" idx="12"/>
          </p:nvPr>
        </p:nvSpPr>
        <p:spPr>
          <a:xfrm>
            <a:off x="7990353" y="1845579"/>
            <a:ext cx="4587241" cy="7243573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41" y="1813564"/>
            <a:ext cx="7147559" cy="7286244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1810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2730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Диаграмма 8"/>
          <p:cNvSpPr>
            <a:spLocks noGrp="1"/>
          </p:cNvSpPr>
          <p:nvPr>
            <p:ph type="chart" sz="quarter" idx="12"/>
          </p:nvPr>
        </p:nvSpPr>
        <p:spPr>
          <a:xfrm>
            <a:off x="7872987" y="1845568"/>
            <a:ext cx="4725924" cy="7008876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диаграммы</a:t>
            </a: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36" y="1813560"/>
            <a:ext cx="7190231" cy="7061757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282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5074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всем 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9439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51034" y="0"/>
            <a:ext cx="10378929" cy="1665586"/>
          </a:xfrm>
          <a:prstGeom prst="rect">
            <a:avLst/>
          </a:prstGeom>
        </p:spPr>
        <p:txBody>
          <a:bodyPr lIns="122055" tIns="61029" rIns="122055" bIns="61029"/>
          <a:lstStyle>
            <a:lvl1pPr algn="l">
              <a:defRPr sz="45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080" y="2240289"/>
            <a:ext cx="11521440" cy="6336348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buFont typeface="Wingdings" pitchFamily="2" charset="2"/>
              <a:buChar char="v"/>
              <a:defRPr/>
            </a:lvl1pPr>
            <a:lvl2pPr>
              <a:buFont typeface="Wingdings" pitchFamily="2" charset="2"/>
              <a:buChar char="§"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51155" y="8898915"/>
            <a:ext cx="2987040" cy="511175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defRPr sz="1300">
                <a:latin typeface="+mn-lt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3880" y="8898915"/>
            <a:ext cx="4053840" cy="511175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defRPr sz="13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36734" y="8898915"/>
            <a:ext cx="2987040" cy="511175"/>
          </a:xfrm>
        </p:spPr>
        <p:txBody>
          <a:bodyPr/>
          <a:lstStyle>
            <a:lvl1pPr>
              <a:defRPr sz="1300"/>
            </a:lvl1pPr>
          </a:lstStyle>
          <a:p>
            <a:pPr>
              <a:defRPr/>
            </a:pPr>
            <a:fld id="{52F11DBE-FC88-4D7E-84D2-61CD5E917187}" type="slidenum">
              <a:rPr lang="en-US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60403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950" y="404529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2500" b="1">
                <a:latin typeface="Myriad Pro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Myriad Pro" pitchFamily="34" charset="0"/>
                <a:cs typeface="Myriad Arabic" pitchFamily="50" charset="-78"/>
              </a:defRPr>
            </a:lvl1pPr>
          </a:lstStyle>
          <a:p>
            <a:pPr marL="27549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27549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4893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2464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8892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20666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50215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1704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2 (фирменный узор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D:\Инфографика\ВШЭ\00_Презентации и материалы\Материалы для наших презентаций\Материалы для экспериментов-09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95"/>
          <a:stretch/>
        </p:blipFill>
        <p:spPr bwMode="auto">
          <a:xfrm>
            <a:off x="0" y="0"/>
            <a:ext cx="12801600" cy="960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1613980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chemeClr val="bg1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3944937" y="5531359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ctr">
              <a:buNone/>
              <a:defRPr sz="3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13" y="86201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7" name="Picture 3" descr="D:\Инфографика\ВШЭ\00_Презентации и материалы\Материалы для наших презентаций\Логотип\Лого для легкой презентации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4621" y="6400840"/>
            <a:ext cx="2907918" cy="3044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05783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" y="152450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11948160" y="9252712"/>
            <a:ext cx="533400" cy="27025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27549"/>
            <a:fld id="{81D60167-4931-47E6-BA6A-407CBD079E47}" type="slidenum">
              <a:rPr lang="ru-RU" smtClean="0">
                <a:solidFill>
                  <a:prstClr val="black"/>
                </a:solidFill>
              </a:rPr>
              <a:pPr marL="27549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39" y="3627120"/>
            <a:ext cx="9695199" cy="103413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4300" b="1" i="0">
                <a:solidFill>
                  <a:srgbClr val="1C5C99"/>
                </a:solidFill>
                <a:latin typeface="Myriad Pro" pitchFamily="34" charset="0"/>
                <a:cs typeface="Myriad Pro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7832" y="5040669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801600" cy="21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 descr="D:\Инфографика\ВШЭ\00_Презентации и материалы\Логотип\Logo_presi-01 - копия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745" y="8256219"/>
            <a:ext cx="881838" cy="918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Текст 3"/>
          <p:cNvSpPr>
            <a:spLocks noGrp="1"/>
          </p:cNvSpPr>
          <p:nvPr>
            <p:ph type="body" sz="quarter" idx="10"/>
          </p:nvPr>
        </p:nvSpPr>
        <p:spPr>
          <a:xfrm>
            <a:off x="6341250" y="6454144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2500"/>
            </a:lvl1pPr>
          </a:lstStyle>
          <a:p>
            <a:pPr lvl="0"/>
            <a:endParaRPr lang="ru-RU" dirty="0" smtClean="0"/>
          </a:p>
        </p:txBody>
      </p:sp>
      <p:sp>
        <p:nvSpPr>
          <p:cNvPr id="15" name="Holder 4"/>
          <p:cNvSpPr txBox="1">
            <a:spLocks/>
          </p:cNvSpPr>
          <p:nvPr userDrawn="1"/>
        </p:nvSpPr>
        <p:spPr>
          <a:xfrm>
            <a:off x="3773829" y="293823"/>
            <a:ext cx="8174355" cy="2616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773"/>
            <a:r>
              <a:rPr lang="ru-RU" sz="17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Институт статистических исследований и экономики знаний</a:t>
            </a:r>
            <a:endParaRPr lang="ru-RU" sz="1700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7050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084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1674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1 (просто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7694296" y="7741367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13" y="8696485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1"/>
          <p:cNvSpPr txBox="1">
            <a:spLocks/>
          </p:cNvSpPr>
          <p:nvPr userDrawn="1"/>
        </p:nvSpPr>
        <p:spPr>
          <a:xfrm>
            <a:off x="1416750" y="8383309"/>
            <a:ext cx="754221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6499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2 (фирменный узор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D:\Инфографика\ВШЭ\00_Презентации и материалы\Материалы для наших презентаций\Материалы для экспериментов-09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95"/>
          <a:stretch/>
        </p:blipFill>
        <p:spPr bwMode="auto">
          <a:xfrm>
            <a:off x="0" y="0"/>
            <a:ext cx="12801600" cy="960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1613980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chemeClr val="bg1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3944937" y="5531359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ctr">
              <a:buNone/>
              <a:defRPr sz="3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13" y="86201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7" name="Picture 3" descr="D:\Инфографика\ВШЭ\00_Презентации и материалы\Материалы для наших презентаций\Логотип\Лого для легкой презентации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4621" y="6400830"/>
            <a:ext cx="2907918" cy="3044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27994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3 (угловые узоры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7"/>
          <p:cNvSpPr/>
          <p:nvPr userDrawn="1"/>
        </p:nvSpPr>
        <p:spPr>
          <a:xfrm>
            <a:off x="4" y="36"/>
            <a:ext cx="12801597" cy="2627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055" tIns="61029" rIns="122055" bIns="61029" rtlCol="0" anchor="ctr"/>
          <a:lstStyle/>
          <a:p>
            <a:pPr algn="ctr"/>
            <a:endParaRPr lang="ru-RU" sz="3100" dirty="0">
              <a:solidFill>
                <a:srgbClr val="FFFFFF"/>
              </a:solidFill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" y="39"/>
            <a:ext cx="3773805" cy="4547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1159" y="5051331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961258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4892373" y="78466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0291522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4 (угловые узоры.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160" y="208054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26667" y="5051331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6383394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6314509" y="78466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Footer Placeholder 1"/>
          <p:cNvSpPr txBox="1">
            <a:spLocks/>
          </p:cNvSpPr>
          <p:nvPr userDrawn="1"/>
        </p:nvSpPr>
        <p:spPr>
          <a:xfrm>
            <a:off x="1416750" y="721511"/>
            <a:ext cx="754221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  <p:pic>
        <p:nvPicPr>
          <p:cNvPr id="1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413665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9645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5 (тематическое фот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799560" y="5024302"/>
            <a:ext cx="1118063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2"/>
          </p:nvPr>
        </p:nvSpPr>
        <p:spPr>
          <a:xfrm>
            <a:off x="0" y="202279"/>
            <a:ext cx="12801600" cy="4596131"/>
          </a:xfrm>
          <a:prstGeom prst="rect">
            <a:avLst/>
          </a:prstGeom>
        </p:spPr>
        <p:txBody>
          <a:bodyPr lIns="122055" tIns="61029" rIns="122055" bIns="61029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5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7694296" y="7850801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6" name="Текст 3"/>
          <p:cNvSpPr>
            <a:spLocks noGrp="1"/>
          </p:cNvSpPr>
          <p:nvPr>
            <p:ph type="body" sz="quarter" idx="15"/>
          </p:nvPr>
        </p:nvSpPr>
        <p:spPr>
          <a:xfrm>
            <a:off x="7625413" y="8552555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9652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новой главы/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584553" y="3392427"/>
            <a:ext cx="11628121" cy="2827020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ctr">
              <a:defRPr sz="5200" b="1">
                <a:solidFill>
                  <a:srgbClr val="1C5C99"/>
                </a:solidFill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5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9814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2" y="384502"/>
            <a:ext cx="1135075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9060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336053" y="384502"/>
            <a:ext cx="12252199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7377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2982635"/>
            <a:ext cx="10881360" cy="2058035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defRPr sz="43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20240" y="5440680"/>
            <a:ext cx="8961120" cy="2453640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ctr">
              <a:buNone/>
              <a:defRPr sz="3500">
                <a:solidFill>
                  <a:schemeClr val="tx1">
                    <a:tint val="75000"/>
                  </a:schemeClr>
                </a:solidFill>
              </a:defRPr>
            </a:lvl1pPr>
            <a:lvl2pPr marL="4958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16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75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3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9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5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709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6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7820" y="9050042"/>
            <a:ext cx="2987040" cy="511175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defRPr sz="1100">
                <a:latin typeface="+mn-lt"/>
              </a:defRPr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3880" y="9050042"/>
            <a:ext cx="4053840" cy="511175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defRPr sz="1100"/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36734" y="9050042"/>
            <a:ext cx="2987040" cy="511175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9DE03A86-B5C9-4E16-B1F4-6FCCD5B3FE53}" type="slidenum">
              <a:rPr lang="en-US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993911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текстов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29" y="1813564"/>
            <a:ext cx="5782057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527" y="384502"/>
            <a:ext cx="11286745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Holder 3"/>
          <p:cNvSpPr>
            <a:spLocks noGrp="1"/>
          </p:cNvSpPr>
          <p:nvPr>
            <p:ph type="body" idx="10" hasCustomPrompt="1"/>
          </p:nvPr>
        </p:nvSpPr>
        <p:spPr>
          <a:xfrm>
            <a:off x="6602450" y="1813564"/>
            <a:ext cx="5964483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6397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Рисунок 8"/>
          <p:cNvSpPr>
            <a:spLocks noGrp="1"/>
          </p:cNvSpPr>
          <p:nvPr>
            <p:ph type="pic" sz="quarter" idx="12"/>
          </p:nvPr>
        </p:nvSpPr>
        <p:spPr>
          <a:xfrm>
            <a:off x="7990353" y="1845579"/>
            <a:ext cx="4587241" cy="7243573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41" y="1813564"/>
            <a:ext cx="7147559" cy="7286244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17399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Диаграмма 8"/>
          <p:cNvSpPr>
            <a:spLocks noGrp="1"/>
          </p:cNvSpPr>
          <p:nvPr>
            <p:ph type="chart" sz="quarter" idx="12"/>
          </p:nvPr>
        </p:nvSpPr>
        <p:spPr>
          <a:xfrm>
            <a:off x="7872987" y="1845568"/>
            <a:ext cx="4725924" cy="7008876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диаграммы</a:t>
            </a: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36" y="1813560"/>
            <a:ext cx="7190231" cy="7061757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395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75248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всем 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4874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51034" y="0"/>
            <a:ext cx="10378929" cy="1665586"/>
          </a:xfrm>
          <a:prstGeom prst="rect">
            <a:avLst/>
          </a:prstGeom>
        </p:spPr>
        <p:txBody>
          <a:bodyPr lIns="122055" tIns="61029" rIns="122055" bIns="61029"/>
          <a:lstStyle>
            <a:lvl1pPr algn="l">
              <a:defRPr sz="45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080" y="2240289"/>
            <a:ext cx="11521440" cy="6336348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buFont typeface="Wingdings" pitchFamily="2" charset="2"/>
              <a:buChar char="v"/>
              <a:defRPr/>
            </a:lvl1pPr>
            <a:lvl2pPr>
              <a:buFont typeface="Wingdings" pitchFamily="2" charset="2"/>
              <a:buChar char="§"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51155" y="8898915"/>
            <a:ext cx="2987040" cy="511175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defRPr sz="1300">
                <a:latin typeface="+mn-lt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3880" y="8898915"/>
            <a:ext cx="4053840" cy="511175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defRPr sz="13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36734" y="8898915"/>
            <a:ext cx="2987040" cy="511175"/>
          </a:xfrm>
        </p:spPr>
        <p:txBody>
          <a:bodyPr/>
          <a:lstStyle>
            <a:lvl1pPr>
              <a:defRPr sz="1300"/>
            </a:lvl1pPr>
          </a:lstStyle>
          <a:p>
            <a:pPr>
              <a:defRPr/>
            </a:pPr>
            <a:fld id="{52F11DBE-FC88-4D7E-84D2-61CD5E917187}" type="slidenum">
              <a:rPr lang="en-US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129743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950" y="404529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2500" b="1">
                <a:latin typeface="Myriad Pro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Myriad Pro" pitchFamily="34" charset="0"/>
                <a:cs typeface="Myriad Arabic" pitchFamily="50" charset="-78"/>
              </a:defRPr>
            </a:lvl1pPr>
          </a:lstStyle>
          <a:p>
            <a:pPr marL="27549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27549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565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2614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4130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8965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Название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027829" y="169496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11948160" y="9252712"/>
            <a:ext cx="533400" cy="27025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27549"/>
            <a:fld id="{81D60167-4931-47E6-BA6A-407CBD079E47}" type="slidenum">
              <a:rPr lang="ru-RU" smtClean="0">
                <a:solidFill>
                  <a:prstClr val="black"/>
                </a:solidFill>
              </a:rPr>
              <a:pPr marL="27549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6" y="5040669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801600" cy="21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Текст 3"/>
          <p:cNvSpPr>
            <a:spLocks noGrp="1"/>
          </p:cNvSpPr>
          <p:nvPr>
            <p:ph type="body" sz="quarter" idx="10"/>
          </p:nvPr>
        </p:nvSpPr>
        <p:spPr>
          <a:xfrm>
            <a:off x="2640573" y="7415427"/>
            <a:ext cx="7520456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ctr">
              <a:buNone/>
              <a:defRPr sz="2900"/>
            </a:lvl1pPr>
          </a:lstStyle>
          <a:p>
            <a:pPr lvl="0"/>
            <a:endParaRPr lang="ru-RU" dirty="0" smtClean="0"/>
          </a:p>
        </p:txBody>
      </p:sp>
      <p:sp>
        <p:nvSpPr>
          <p:cNvPr id="15" name="Holder 4"/>
          <p:cNvSpPr txBox="1">
            <a:spLocks/>
          </p:cNvSpPr>
          <p:nvPr userDrawn="1"/>
        </p:nvSpPr>
        <p:spPr>
          <a:xfrm>
            <a:off x="1280167" y="624041"/>
            <a:ext cx="8187693" cy="2616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773"/>
            <a:r>
              <a:rPr lang="ru-RU" sz="17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Институт статистических исследований и экономики знаний</a:t>
            </a:r>
            <a:endParaRPr lang="ru-RU" sz="1700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17" name="Текст 3"/>
          <p:cNvSpPr>
            <a:spLocks noGrp="1"/>
          </p:cNvSpPr>
          <p:nvPr>
            <p:ph type="body" sz="quarter" idx="12"/>
          </p:nvPr>
        </p:nvSpPr>
        <p:spPr>
          <a:xfrm>
            <a:off x="3910514" y="8941703"/>
            <a:ext cx="4980622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ctr">
              <a:buNone/>
              <a:defRPr sz="1500"/>
            </a:lvl1pPr>
          </a:lstStyle>
          <a:p>
            <a:pPr lvl="0"/>
            <a:endParaRPr lang="ru-RU" dirty="0" smtClean="0"/>
          </a:p>
        </p:txBody>
      </p:sp>
      <p:pic>
        <p:nvPicPr>
          <p:cNvPr id="18" name="Picture 2" descr="D:\Инфографика\ВШЭ\00_Презентации и материалы\Логотип\Logo_presi-01 - копия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164" y="337284"/>
            <a:ext cx="881838" cy="918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913607" y="2473649"/>
            <a:ext cx="8974455" cy="465391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4300" b="1" i="0">
                <a:solidFill>
                  <a:srgbClr val="1C5C99"/>
                </a:solidFill>
                <a:latin typeface="Myriad Pro" pitchFamily="34" charset="0"/>
                <a:cs typeface="Myriad Pro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89074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4007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01791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3141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9666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1 (просто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7694296" y="7741367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13" y="8696485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1"/>
          <p:cNvSpPr txBox="1">
            <a:spLocks/>
          </p:cNvSpPr>
          <p:nvPr userDrawn="1"/>
        </p:nvSpPr>
        <p:spPr>
          <a:xfrm>
            <a:off x="1416750" y="8383309"/>
            <a:ext cx="754221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6452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2 (фирменный узор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D:\Инфографика\ВШЭ\00_Презентации и материалы\Материалы для наших презентаций\Материалы для экспериментов-09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95"/>
          <a:stretch/>
        </p:blipFill>
        <p:spPr bwMode="auto">
          <a:xfrm>
            <a:off x="0" y="0"/>
            <a:ext cx="12801600" cy="960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1613980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chemeClr val="bg1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3944937" y="5531359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ctr">
              <a:buNone/>
              <a:defRPr sz="3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13" y="86201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7" name="Picture 3" descr="D:\Инфографика\ВШЭ\00_Презентации и материалы\Материалы для наших презентаций\Логотип\Лого для легкой презентации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4621" y="6400830"/>
            <a:ext cx="2907918" cy="3044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506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3 (угловые узоры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7"/>
          <p:cNvSpPr/>
          <p:nvPr userDrawn="1"/>
        </p:nvSpPr>
        <p:spPr>
          <a:xfrm>
            <a:off x="4" y="36"/>
            <a:ext cx="12801597" cy="2627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055" tIns="61029" rIns="122055" bIns="61029" rtlCol="0" anchor="ctr"/>
          <a:lstStyle/>
          <a:p>
            <a:pPr algn="ctr"/>
            <a:endParaRPr lang="ru-RU" sz="3100" dirty="0">
              <a:solidFill>
                <a:srgbClr val="FFFFFF"/>
              </a:solidFill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" y="39"/>
            <a:ext cx="3773805" cy="4547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1159" y="5051331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961258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4892373" y="78466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90170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4 (угловые узоры.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160" y="208054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26667" y="5051331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6383394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6314509" y="78466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Footer Placeholder 1"/>
          <p:cNvSpPr txBox="1">
            <a:spLocks/>
          </p:cNvSpPr>
          <p:nvPr userDrawn="1"/>
        </p:nvSpPr>
        <p:spPr>
          <a:xfrm>
            <a:off x="1416750" y="721511"/>
            <a:ext cx="754221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  <p:pic>
        <p:nvPicPr>
          <p:cNvPr id="1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413665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633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5 (тематическое фот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799560" y="5024302"/>
            <a:ext cx="1118063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2"/>
          </p:nvPr>
        </p:nvSpPr>
        <p:spPr>
          <a:xfrm>
            <a:off x="0" y="202279"/>
            <a:ext cx="12801600" cy="4596131"/>
          </a:xfrm>
          <a:prstGeom prst="rect">
            <a:avLst/>
          </a:prstGeom>
        </p:spPr>
        <p:txBody>
          <a:bodyPr lIns="122055" tIns="61029" rIns="122055" bIns="61029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5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7694296" y="7850801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6" name="Текст 3"/>
          <p:cNvSpPr>
            <a:spLocks noGrp="1"/>
          </p:cNvSpPr>
          <p:nvPr>
            <p:ph type="body" sz="quarter" idx="15"/>
          </p:nvPr>
        </p:nvSpPr>
        <p:spPr>
          <a:xfrm>
            <a:off x="7625413" y="8552555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19364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новой главы/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584553" y="3392427"/>
            <a:ext cx="11628121" cy="2827020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ctr">
              <a:defRPr sz="5200" b="1">
                <a:solidFill>
                  <a:srgbClr val="1C5C99"/>
                </a:solidFill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5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8110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Название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027829" y="169496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6" y="5040669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801600" cy="21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Текст 3"/>
          <p:cNvSpPr>
            <a:spLocks noGrp="1"/>
          </p:cNvSpPr>
          <p:nvPr>
            <p:ph type="body" sz="quarter" idx="10"/>
          </p:nvPr>
        </p:nvSpPr>
        <p:spPr>
          <a:xfrm>
            <a:off x="4441041" y="7760305"/>
            <a:ext cx="7520456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900"/>
            </a:lvl1pPr>
          </a:lstStyle>
          <a:p>
            <a:pPr lvl="0"/>
            <a:endParaRPr lang="ru-RU" dirty="0" smtClean="0"/>
          </a:p>
        </p:txBody>
      </p:sp>
      <p:sp>
        <p:nvSpPr>
          <p:cNvPr id="15" name="Holder 4"/>
          <p:cNvSpPr txBox="1">
            <a:spLocks/>
          </p:cNvSpPr>
          <p:nvPr userDrawn="1"/>
        </p:nvSpPr>
        <p:spPr>
          <a:xfrm>
            <a:off x="1280167" y="624041"/>
            <a:ext cx="8187693" cy="2616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773"/>
            <a:r>
              <a:rPr lang="ru-RU" sz="17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Институт статистических исследований и экономики знаний</a:t>
            </a:r>
            <a:endParaRPr lang="ru-RU" sz="1700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17" name="Текст 3"/>
          <p:cNvSpPr>
            <a:spLocks noGrp="1"/>
          </p:cNvSpPr>
          <p:nvPr>
            <p:ph type="body" sz="quarter" idx="12"/>
          </p:nvPr>
        </p:nvSpPr>
        <p:spPr>
          <a:xfrm>
            <a:off x="6977568" y="8870775"/>
            <a:ext cx="4980622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1500"/>
            </a:lvl1pPr>
          </a:lstStyle>
          <a:p>
            <a:pPr lvl="0"/>
            <a:endParaRPr lang="ru-RU" dirty="0" smtClean="0"/>
          </a:p>
        </p:txBody>
      </p:sp>
      <p:pic>
        <p:nvPicPr>
          <p:cNvPr id="18" name="Picture 2" descr="D:\Инфографика\ВШЭ\00_Презентации и материалы\Логотип\Logo_presi-01 - копия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164" y="337284"/>
            <a:ext cx="881838" cy="918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913607" y="2473649"/>
            <a:ext cx="8974455" cy="465391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4300" b="1" i="0">
                <a:solidFill>
                  <a:srgbClr val="1C5C99"/>
                </a:solidFill>
                <a:latin typeface="Myriad Pro" pitchFamily="34" charset="0"/>
                <a:cs typeface="Myriad Pro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35681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2" y="384502"/>
            <a:ext cx="1135075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4592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336053" y="384502"/>
            <a:ext cx="12252199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5560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текстов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29" y="1813564"/>
            <a:ext cx="5782057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527" y="384502"/>
            <a:ext cx="11286745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Holder 3"/>
          <p:cNvSpPr>
            <a:spLocks noGrp="1"/>
          </p:cNvSpPr>
          <p:nvPr>
            <p:ph type="body" idx="10" hasCustomPrompt="1"/>
          </p:nvPr>
        </p:nvSpPr>
        <p:spPr>
          <a:xfrm>
            <a:off x="6602450" y="1813564"/>
            <a:ext cx="5964483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5104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Рисунок 8"/>
          <p:cNvSpPr>
            <a:spLocks noGrp="1"/>
          </p:cNvSpPr>
          <p:nvPr>
            <p:ph type="pic" sz="quarter" idx="12"/>
          </p:nvPr>
        </p:nvSpPr>
        <p:spPr>
          <a:xfrm>
            <a:off x="7990353" y="1845579"/>
            <a:ext cx="4587241" cy="7243573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41" y="1813564"/>
            <a:ext cx="7147559" cy="7286244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615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Диаграмма 8"/>
          <p:cNvSpPr>
            <a:spLocks noGrp="1"/>
          </p:cNvSpPr>
          <p:nvPr>
            <p:ph type="chart" sz="quarter" idx="12"/>
          </p:nvPr>
        </p:nvSpPr>
        <p:spPr>
          <a:xfrm>
            <a:off x="7872987" y="1845568"/>
            <a:ext cx="4725924" cy="7008876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диаграммы</a:t>
            </a: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36" y="1813560"/>
            <a:ext cx="7190231" cy="7061757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8355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7064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всем 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211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51034" y="0"/>
            <a:ext cx="10378929" cy="1665586"/>
          </a:xfrm>
          <a:prstGeom prst="rect">
            <a:avLst/>
          </a:prstGeom>
        </p:spPr>
        <p:txBody>
          <a:bodyPr lIns="122055" tIns="61029" rIns="122055" bIns="61029"/>
          <a:lstStyle>
            <a:lvl1pPr algn="l">
              <a:defRPr sz="45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080" y="2240289"/>
            <a:ext cx="11521440" cy="6336348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buFont typeface="Wingdings" pitchFamily="2" charset="2"/>
              <a:buChar char="v"/>
              <a:defRPr/>
            </a:lvl1pPr>
            <a:lvl2pPr>
              <a:buFont typeface="Wingdings" pitchFamily="2" charset="2"/>
              <a:buChar char="§"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51155" y="8898915"/>
            <a:ext cx="2987040" cy="511175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defRPr sz="1300">
                <a:latin typeface="+mn-lt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3880" y="8898915"/>
            <a:ext cx="4053840" cy="511175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defRPr sz="13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36734" y="8898915"/>
            <a:ext cx="2987040" cy="511175"/>
          </a:xfrm>
        </p:spPr>
        <p:txBody>
          <a:bodyPr/>
          <a:lstStyle>
            <a:lvl1pPr>
              <a:defRPr sz="1300"/>
            </a:lvl1pPr>
          </a:lstStyle>
          <a:p>
            <a:pPr>
              <a:defRPr/>
            </a:pPr>
            <a:fld id="{52F11DBE-FC88-4D7E-84D2-61CD5E917187}" type="slidenum">
              <a:rPr lang="en-US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8305259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946" y="404529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2500" b="1">
                <a:latin typeface="Myriad Pro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Myriad Pro" pitchFamily="34" charset="0"/>
                <a:cs typeface="Myriad Arabic" pitchFamily="50" charset="-78"/>
              </a:defRPr>
            </a:lvl1pPr>
          </a:lstStyle>
          <a:p>
            <a:pPr marL="27549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27549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9623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645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11948160" y="8968232"/>
            <a:ext cx="533400" cy="27025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27549"/>
            <a:fld id="{81D60167-4931-47E6-BA6A-407CBD079E47}" type="slidenum">
              <a:rPr lang="ru-RU" smtClean="0">
                <a:solidFill>
                  <a:prstClr val="black"/>
                </a:solidFill>
              </a:rPr>
              <a:pPr marL="27549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853440" y="3947160"/>
            <a:ext cx="11628120" cy="960120"/>
          </a:xfrm>
          <a:prstGeom prst="rect">
            <a:avLst/>
          </a:prstGeom>
        </p:spPr>
        <p:txBody>
          <a:bodyPr lIns="122055" tIns="61029" rIns="122055" bIns="61029"/>
          <a:lstStyle>
            <a:lvl1pPr algn="ctr">
              <a:defRPr sz="3900" b="1">
                <a:solidFill>
                  <a:srgbClr val="1C5C99"/>
                </a:solidFill>
                <a:latin typeface="Myriad Pro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4" name="Subtitle 2"/>
          <p:cNvSpPr txBox="1">
            <a:spLocks/>
          </p:cNvSpPr>
          <p:nvPr userDrawn="1"/>
        </p:nvSpPr>
        <p:spPr bwMode="auto">
          <a:xfrm>
            <a:off x="325834" y="8863374"/>
            <a:ext cx="580072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2055" tIns="61029" rIns="122055" bIns="61029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9pPr>
          </a:lstStyle>
          <a:p>
            <a:pPr>
              <a:buFontTx/>
              <a:buNone/>
            </a:pPr>
            <a:r>
              <a:rPr lang="ru-RU" altLang="ru-RU" sz="800" dirty="0">
                <a:solidFill>
                  <a:srgbClr val="4F81BD">
                    <a:lumMod val="50000"/>
                  </a:srgbClr>
                </a:solidFill>
                <a:latin typeface="Calibri" panose="020F0502020204030204" pitchFamily="34" charset="0"/>
              </a:rPr>
              <a:t>Высшая школа экономики, Москва, </a:t>
            </a:r>
            <a:r>
              <a:rPr lang="ru-RU" altLang="ru-RU" sz="800" dirty="0" smtClean="0">
                <a:solidFill>
                  <a:srgbClr val="4F81BD">
                    <a:lumMod val="50000"/>
                  </a:srgbClr>
                </a:solidFill>
                <a:latin typeface="Calibri" panose="020F0502020204030204" pitchFamily="34" charset="0"/>
              </a:rPr>
              <a:t>2016</a:t>
            </a:r>
            <a:endParaRPr kumimoji="1" lang="ru-RU" altLang="ru-RU" sz="800" dirty="0">
              <a:solidFill>
                <a:srgbClr val="4F81BD">
                  <a:lumMod val="50000"/>
                </a:srgb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07743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8884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8973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956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4510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598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7679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1 (просто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7694296" y="7741367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13" y="8696485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1"/>
          <p:cNvSpPr txBox="1">
            <a:spLocks/>
          </p:cNvSpPr>
          <p:nvPr userDrawn="1"/>
        </p:nvSpPr>
        <p:spPr>
          <a:xfrm>
            <a:off x="1416750" y="8383309"/>
            <a:ext cx="754221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0844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2 (фирменный узор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D:\Инфографика\ВШЭ\00_Презентации и материалы\Материалы для наших презентаций\Материалы для экспериментов-09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95"/>
          <a:stretch/>
        </p:blipFill>
        <p:spPr bwMode="auto">
          <a:xfrm>
            <a:off x="0" y="0"/>
            <a:ext cx="12801600" cy="960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1613980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chemeClr val="bg1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3944937" y="5531359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ctr">
              <a:buNone/>
              <a:defRPr sz="3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13" y="86201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7" name="Picture 3" descr="D:\Инфографика\ВШЭ\00_Презентации и материалы\Материалы для наших презентаций\Логотип\Лого для легкой презентации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4621" y="6400830"/>
            <a:ext cx="2907918" cy="3044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9796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3 (угловые узоры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7"/>
          <p:cNvSpPr/>
          <p:nvPr userDrawn="1"/>
        </p:nvSpPr>
        <p:spPr>
          <a:xfrm>
            <a:off x="4" y="36"/>
            <a:ext cx="12801597" cy="2627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055" tIns="61029" rIns="122055" bIns="61029" rtlCol="0" anchor="ctr"/>
          <a:lstStyle/>
          <a:p>
            <a:pPr algn="ctr"/>
            <a:endParaRPr lang="ru-RU" sz="3100" dirty="0">
              <a:solidFill>
                <a:srgbClr val="FFFFFF"/>
              </a:solidFill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" y="39"/>
            <a:ext cx="3773805" cy="4547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1159" y="5051331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961258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4892373" y="78466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57414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4 (угловые узоры.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160" y="208054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26667" y="5051331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6383394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6314509" y="78466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Footer Placeholder 1"/>
          <p:cNvSpPr txBox="1">
            <a:spLocks/>
          </p:cNvSpPr>
          <p:nvPr userDrawn="1"/>
        </p:nvSpPr>
        <p:spPr>
          <a:xfrm>
            <a:off x="1416750" y="721511"/>
            <a:ext cx="754221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  <p:pic>
        <p:nvPicPr>
          <p:cNvPr id="1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413665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0806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1280160" y="353534"/>
            <a:ext cx="11521440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2100" b="1">
                <a:solidFill>
                  <a:schemeClr val="tx2"/>
                </a:solidFill>
                <a:latin typeface="Myriad Pro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9" name="Holder 3"/>
          <p:cNvSpPr>
            <a:spLocks noGrp="1"/>
          </p:cNvSpPr>
          <p:nvPr>
            <p:ph type="body" idx="1"/>
          </p:nvPr>
        </p:nvSpPr>
        <p:spPr>
          <a:xfrm>
            <a:off x="426761" y="1813601"/>
            <a:ext cx="11521439" cy="387799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>
                <a:latin typeface="Myriad Pro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11948160" y="8986012"/>
            <a:ext cx="533400" cy="27025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marL="27549"/>
            <a:fld id="{81D60167-4931-47E6-BA6A-407CBD079E47}" type="slidenum">
              <a:rPr lang="ru-RU" smtClean="0">
                <a:solidFill>
                  <a:srgbClr val="1F497D"/>
                </a:solidFill>
              </a:rPr>
              <a:pPr marL="27549"/>
              <a:t>‹#›</a:t>
            </a:fld>
            <a:endParaRPr lang="ru-RU" dirty="0">
              <a:solidFill>
                <a:srgbClr val="1F497D"/>
              </a:solidFill>
            </a:endParaRPr>
          </a:p>
        </p:txBody>
      </p:sp>
      <p:sp>
        <p:nvSpPr>
          <p:cNvPr id="5" name="Subtitle 2"/>
          <p:cNvSpPr txBox="1">
            <a:spLocks/>
          </p:cNvSpPr>
          <p:nvPr userDrawn="1"/>
        </p:nvSpPr>
        <p:spPr bwMode="auto">
          <a:xfrm>
            <a:off x="325834" y="8863374"/>
            <a:ext cx="580072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2055" tIns="61029" rIns="122055" bIns="61029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9pPr>
          </a:lstStyle>
          <a:p>
            <a:pPr>
              <a:buFontTx/>
              <a:buNone/>
            </a:pPr>
            <a:r>
              <a:rPr lang="ru-RU" altLang="ru-RU" sz="800" dirty="0">
                <a:solidFill>
                  <a:srgbClr val="4F81BD">
                    <a:lumMod val="50000"/>
                  </a:srgbClr>
                </a:solidFill>
                <a:latin typeface="Calibri" panose="020F0502020204030204" pitchFamily="34" charset="0"/>
              </a:rPr>
              <a:t>Высшая школа экономики, Москва, </a:t>
            </a:r>
            <a:r>
              <a:rPr lang="ru-RU" altLang="ru-RU" sz="800" dirty="0" smtClean="0">
                <a:solidFill>
                  <a:srgbClr val="4F81BD">
                    <a:lumMod val="50000"/>
                  </a:srgbClr>
                </a:solidFill>
                <a:latin typeface="Calibri" panose="020F0502020204030204" pitchFamily="34" charset="0"/>
              </a:rPr>
              <a:t>2016</a:t>
            </a:r>
            <a:endParaRPr kumimoji="1" lang="ru-RU" altLang="ru-RU" sz="800" dirty="0">
              <a:solidFill>
                <a:srgbClr val="4F81BD">
                  <a:lumMod val="50000"/>
                </a:srgb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8637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5 (тематическое фот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799560" y="5024302"/>
            <a:ext cx="1118063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2"/>
          </p:nvPr>
        </p:nvSpPr>
        <p:spPr>
          <a:xfrm>
            <a:off x="0" y="202279"/>
            <a:ext cx="12801600" cy="4596131"/>
          </a:xfrm>
          <a:prstGeom prst="rect">
            <a:avLst/>
          </a:prstGeom>
        </p:spPr>
        <p:txBody>
          <a:bodyPr lIns="122055" tIns="61029" rIns="122055" bIns="61029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5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7694296" y="7850801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6" name="Текст 3"/>
          <p:cNvSpPr>
            <a:spLocks noGrp="1"/>
          </p:cNvSpPr>
          <p:nvPr>
            <p:ph type="body" sz="quarter" idx="15"/>
          </p:nvPr>
        </p:nvSpPr>
        <p:spPr>
          <a:xfrm>
            <a:off x="7625413" y="8552555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7369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новой главы/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584553" y="3392427"/>
            <a:ext cx="11628121" cy="2827020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ctr">
              <a:defRPr sz="5200" b="1">
                <a:solidFill>
                  <a:srgbClr val="1C5C99"/>
                </a:solidFill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5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9316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2" y="384502"/>
            <a:ext cx="1135075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5723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336053" y="384502"/>
            <a:ext cx="12252199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7256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текстов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29" y="1813564"/>
            <a:ext cx="5782057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527" y="384502"/>
            <a:ext cx="11286745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Holder 3"/>
          <p:cNvSpPr>
            <a:spLocks noGrp="1"/>
          </p:cNvSpPr>
          <p:nvPr>
            <p:ph type="body" idx="10" hasCustomPrompt="1"/>
          </p:nvPr>
        </p:nvSpPr>
        <p:spPr>
          <a:xfrm>
            <a:off x="6602450" y="1813564"/>
            <a:ext cx="5964483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4040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Рисунок 8"/>
          <p:cNvSpPr>
            <a:spLocks noGrp="1"/>
          </p:cNvSpPr>
          <p:nvPr>
            <p:ph type="pic" sz="quarter" idx="12"/>
          </p:nvPr>
        </p:nvSpPr>
        <p:spPr>
          <a:xfrm>
            <a:off x="7990353" y="1845579"/>
            <a:ext cx="4587241" cy="7243573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41" y="1813564"/>
            <a:ext cx="7147559" cy="7286244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8389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Диаграмма 8"/>
          <p:cNvSpPr>
            <a:spLocks noGrp="1"/>
          </p:cNvSpPr>
          <p:nvPr>
            <p:ph type="chart" sz="quarter" idx="12"/>
          </p:nvPr>
        </p:nvSpPr>
        <p:spPr>
          <a:xfrm>
            <a:off x="7872987" y="1845568"/>
            <a:ext cx="4725924" cy="7008876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диаграммы</a:t>
            </a: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36" y="1813560"/>
            <a:ext cx="7190231" cy="7061757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5011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0297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всем 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3276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51034" y="0"/>
            <a:ext cx="10378929" cy="1665586"/>
          </a:xfrm>
          <a:prstGeom prst="rect">
            <a:avLst/>
          </a:prstGeom>
        </p:spPr>
        <p:txBody>
          <a:bodyPr lIns="122055" tIns="61029" rIns="122055" bIns="61029"/>
          <a:lstStyle>
            <a:lvl1pPr algn="l">
              <a:defRPr sz="45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080" y="2240289"/>
            <a:ext cx="11521440" cy="6336348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buFont typeface="Wingdings" pitchFamily="2" charset="2"/>
              <a:buChar char="v"/>
              <a:defRPr/>
            </a:lvl1pPr>
            <a:lvl2pPr>
              <a:buFont typeface="Wingdings" pitchFamily="2" charset="2"/>
              <a:buChar char="§"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51155" y="8898915"/>
            <a:ext cx="2987040" cy="511175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defRPr sz="1300">
                <a:latin typeface="+mn-lt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3880" y="8898915"/>
            <a:ext cx="4053840" cy="511175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defRPr sz="13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36734" y="8898915"/>
            <a:ext cx="2987040" cy="511175"/>
          </a:xfrm>
        </p:spPr>
        <p:txBody>
          <a:bodyPr/>
          <a:lstStyle>
            <a:lvl1pPr>
              <a:defRPr sz="1300"/>
            </a:lvl1pPr>
          </a:lstStyle>
          <a:p>
            <a:pPr>
              <a:defRPr/>
            </a:pPr>
            <a:fld id="{52F11DBE-FC88-4D7E-84D2-61CD5E917187}" type="slidenum">
              <a:rPr lang="en-US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15331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1139068" y="353534"/>
            <a:ext cx="116625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2100" b="1">
                <a:solidFill>
                  <a:schemeClr val="tx2"/>
                </a:solidFill>
                <a:latin typeface="Myriad Pro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8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11948160" y="9252712"/>
            <a:ext cx="533400" cy="270256"/>
          </a:xfrm>
        </p:spPr>
        <p:txBody>
          <a:bodyPr/>
          <a:lstStyle>
            <a:lvl1pPr>
              <a:defRPr/>
            </a:lvl1pPr>
          </a:lstStyle>
          <a:p>
            <a:pPr marL="27549"/>
            <a:fld id="{BCD72B60-699F-442B-8B6B-D2C17D46A3CC}" type="slidenum">
              <a:rPr lang="ru-RU" smtClean="0">
                <a:solidFill>
                  <a:prstClr val="black"/>
                </a:solidFill>
              </a:rPr>
              <a:pPr marL="27549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1" name="Holder 3"/>
          <p:cNvSpPr>
            <a:spLocks noGrp="1"/>
          </p:cNvSpPr>
          <p:nvPr>
            <p:ph type="body" idx="1"/>
          </p:nvPr>
        </p:nvSpPr>
        <p:spPr>
          <a:xfrm>
            <a:off x="426720" y="1813564"/>
            <a:ext cx="6827520" cy="58994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latin typeface="Myriad Pro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Рисунок 8"/>
          <p:cNvSpPr>
            <a:spLocks noGrp="1"/>
          </p:cNvSpPr>
          <p:nvPr>
            <p:ph type="pic" sz="quarter" idx="12"/>
          </p:nvPr>
        </p:nvSpPr>
        <p:spPr>
          <a:xfrm>
            <a:off x="7787640" y="1845564"/>
            <a:ext cx="4480560" cy="6614160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000">
                <a:latin typeface="Myriad Pro" pitchFamily="34" charset="0"/>
              </a:defRPr>
            </a:lvl1pPr>
          </a:lstStyle>
          <a:p>
            <a:r>
              <a:rPr lang="en-US" smtClean="0"/>
              <a:t>Click icon to add picture</a:t>
            </a:r>
            <a:endParaRPr lang="ru-RU" dirty="0"/>
          </a:p>
        </p:txBody>
      </p:sp>
      <p:sp>
        <p:nvSpPr>
          <p:cNvPr id="6" name="Subtitle 2"/>
          <p:cNvSpPr txBox="1">
            <a:spLocks/>
          </p:cNvSpPr>
          <p:nvPr userDrawn="1"/>
        </p:nvSpPr>
        <p:spPr bwMode="auto">
          <a:xfrm>
            <a:off x="325834" y="8863374"/>
            <a:ext cx="580072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2055" tIns="61029" rIns="122055" bIns="61029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9pPr>
          </a:lstStyle>
          <a:p>
            <a:pPr>
              <a:buFontTx/>
              <a:buNone/>
            </a:pPr>
            <a:r>
              <a:rPr lang="ru-RU" altLang="ru-RU" sz="800" dirty="0">
                <a:solidFill>
                  <a:srgbClr val="4F81BD">
                    <a:lumMod val="50000"/>
                  </a:srgbClr>
                </a:solidFill>
                <a:latin typeface="Calibri" panose="020F0502020204030204" pitchFamily="34" charset="0"/>
              </a:rPr>
              <a:t>Высшая школа экономики, Москва, </a:t>
            </a:r>
            <a:r>
              <a:rPr lang="ru-RU" altLang="ru-RU" sz="800" dirty="0" smtClean="0">
                <a:solidFill>
                  <a:srgbClr val="4F81BD">
                    <a:lumMod val="50000"/>
                  </a:srgbClr>
                </a:solidFill>
                <a:latin typeface="Calibri" panose="020F0502020204030204" pitchFamily="34" charset="0"/>
              </a:rPr>
              <a:t>2016</a:t>
            </a:r>
            <a:endParaRPr kumimoji="1" lang="ru-RU" altLang="ru-RU" sz="800" dirty="0">
              <a:solidFill>
                <a:srgbClr val="4F81BD">
                  <a:lumMod val="50000"/>
                </a:srgb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5963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6297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6592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62451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0253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5699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2536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91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1 (просто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7694296" y="7741367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13" y="8696485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1"/>
          <p:cNvSpPr txBox="1">
            <a:spLocks/>
          </p:cNvSpPr>
          <p:nvPr userDrawn="1"/>
        </p:nvSpPr>
        <p:spPr>
          <a:xfrm>
            <a:off x="1416750" y="8383309"/>
            <a:ext cx="754221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5488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2 (фирменный узор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D:\Инфографика\ВШЭ\00_Презентации и материалы\Материалы для наших презентаций\Материалы для экспериментов-09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95"/>
          <a:stretch/>
        </p:blipFill>
        <p:spPr bwMode="auto">
          <a:xfrm>
            <a:off x="0" y="0"/>
            <a:ext cx="12801600" cy="960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1613980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chemeClr val="bg1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3944937" y="5531359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ctr">
              <a:buNone/>
              <a:defRPr sz="3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13" y="86201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7" name="Picture 3" descr="D:\Инфографика\ВШЭ\00_Презентации и материалы\Материалы для наших презентаций\Логотип\Лого для легкой презентации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4621" y="6400830"/>
            <a:ext cx="2907918" cy="3044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288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3 (угловые узоры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7"/>
          <p:cNvSpPr/>
          <p:nvPr userDrawn="1"/>
        </p:nvSpPr>
        <p:spPr>
          <a:xfrm>
            <a:off x="4" y="36"/>
            <a:ext cx="12801597" cy="2627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055" tIns="61029" rIns="122055" bIns="61029" rtlCol="0" anchor="ctr"/>
          <a:lstStyle/>
          <a:p>
            <a:pPr algn="ctr"/>
            <a:endParaRPr lang="ru-RU" sz="3100" dirty="0">
              <a:solidFill>
                <a:srgbClr val="FFFFFF"/>
              </a:solidFill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" y="39"/>
            <a:ext cx="3773805" cy="4547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1159" y="5051331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961258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4892373" y="78466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458483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1170043" y="332887"/>
            <a:ext cx="11631561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2100" b="1">
                <a:solidFill>
                  <a:schemeClr val="tx2"/>
                </a:solidFill>
                <a:latin typeface="Myriad Pro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8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11948160" y="9252712"/>
            <a:ext cx="533400" cy="270256"/>
          </a:xfrm>
        </p:spPr>
        <p:txBody>
          <a:bodyPr/>
          <a:lstStyle/>
          <a:p>
            <a:pPr marL="27549"/>
            <a:fld id="{81D60167-4931-47E6-BA6A-407CBD079E47}" type="slidenum">
              <a:rPr lang="ru-RU" smtClean="0">
                <a:solidFill>
                  <a:prstClr val="black"/>
                </a:solidFill>
              </a:rPr>
              <a:pPr marL="27549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1" name="Holder 3"/>
          <p:cNvSpPr>
            <a:spLocks noGrp="1"/>
          </p:cNvSpPr>
          <p:nvPr>
            <p:ph type="body" idx="1"/>
          </p:nvPr>
        </p:nvSpPr>
        <p:spPr>
          <a:xfrm>
            <a:off x="426720" y="1813564"/>
            <a:ext cx="6827520" cy="58994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latin typeface="Myriad Pro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Диаграмма 8"/>
          <p:cNvSpPr>
            <a:spLocks noGrp="1"/>
          </p:cNvSpPr>
          <p:nvPr>
            <p:ph type="chart" sz="quarter" idx="12"/>
          </p:nvPr>
        </p:nvSpPr>
        <p:spPr>
          <a:xfrm>
            <a:off x="7680960" y="1845564"/>
            <a:ext cx="4587240" cy="6614160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000">
                <a:latin typeface="Myriad Pro" pitchFamily="34" charset="0"/>
              </a:defRPr>
            </a:lvl1pPr>
          </a:lstStyle>
          <a:p>
            <a:r>
              <a:rPr lang="en-US" smtClean="0"/>
              <a:t>Click icon to add char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0426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4 (угловые узоры.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160" y="208054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26667" y="5051331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6383394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6314509" y="78466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Footer Placeholder 1"/>
          <p:cNvSpPr txBox="1">
            <a:spLocks/>
          </p:cNvSpPr>
          <p:nvPr userDrawn="1"/>
        </p:nvSpPr>
        <p:spPr>
          <a:xfrm>
            <a:off x="1416750" y="721511"/>
            <a:ext cx="754221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  <p:pic>
        <p:nvPicPr>
          <p:cNvPr id="1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413665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699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5 (тематическое фот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799560" y="5024302"/>
            <a:ext cx="1118063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2"/>
          </p:nvPr>
        </p:nvSpPr>
        <p:spPr>
          <a:xfrm>
            <a:off x="0" y="202279"/>
            <a:ext cx="12801600" cy="4596131"/>
          </a:xfrm>
          <a:prstGeom prst="rect">
            <a:avLst/>
          </a:prstGeom>
        </p:spPr>
        <p:txBody>
          <a:bodyPr lIns="122055" tIns="61029" rIns="122055" bIns="61029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5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7694296" y="7850801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6" name="Текст 3"/>
          <p:cNvSpPr>
            <a:spLocks noGrp="1"/>
          </p:cNvSpPr>
          <p:nvPr>
            <p:ph type="body" sz="quarter" idx="15"/>
          </p:nvPr>
        </p:nvSpPr>
        <p:spPr>
          <a:xfrm>
            <a:off x="7625413" y="8552555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5591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новой главы/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584553" y="3392427"/>
            <a:ext cx="11628121" cy="2827020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ctr">
              <a:defRPr sz="5200" b="1">
                <a:solidFill>
                  <a:srgbClr val="1C5C99"/>
                </a:solidFill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5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9751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2" y="384502"/>
            <a:ext cx="1135075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36871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336053" y="384502"/>
            <a:ext cx="12252199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44761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текстов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29" y="1813564"/>
            <a:ext cx="5782057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527" y="384502"/>
            <a:ext cx="11286745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Holder 3"/>
          <p:cNvSpPr>
            <a:spLocks noGrp="1"/>
          </p:cNvSpPr>
          <p:nvPr>
            <p:ph type="body" idx="10" hasCustomPrompt="1"/>
          </p:nvPr>
        </p:nvSpPr>
        <p:spPr>
          <a:xfrm>
            <a:off x="6602450" y="1813564"/>
            <a:ext cx="5964483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49659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Рисунок 8"/>
          <p:cNvSpPr>
            <a:spLocks noGrp="1"/>
          </p:cNvSpPr>
          <p:nvPr>
            <p:ph type="pic" sz="quarter" idx="12"/>
          </p:nvPr>
        </p:nvSpPr>
        <p:spPr>
          <a:xfrm>
            <a:off x="7990353" y="1845579"/>
            <a:ext cx="4587241" cy="7243573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41" y="1813564"/>
            <a:ext cx="7147559" cy="7286244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7605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Диаграмма 8"/>
          <p:cNvSpPr>
            <a:spLocks noGrp="1"/>
          </p:cNvSpPr>
          <p:nvPr>
            <p:ph type="chart" sz="quarter" idx="12"/>
          </p:nvPr>
        </p:nvSpPr>
        <p:spPr>
          <a:xfrm>
            <a:off x="7872987" y="1845568"/>
            <a:ext cx="4725924" cy="7008876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диаграммы</a:t>
            </a: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36" y="1813560"/>
            <a:ext cx="7190231" cy="7061757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17998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4053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всем 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285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1170043" y="332887"/>
            <a:ext cx="11631561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2100" b="1">
                <a:solidFill>
                  <a:schemeClr val="tx2"/>
                </a:solidFill>
                <a:latin typeface="Myriad Pro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8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11948160" y="9252712"/>
            <a:ext cx="533400" cy="270256"/>
          </a:xfrm>
        </p:spPr>
        <p:txBody>
          <a:bodyPr/>
          <a:lstStyle>
            <a:lvl1pPr>
              <a:defRPr/>
            </a:lvl1pPr>
          </a:lstStyle>
          <a:p>
            <a:pPr marL="27549"/>
            <a:fld id="{09100E76-118F-4F7B-8052-7AA3A5689AA1}" type="slidenum">
              <a:rPr lang="ru-RU" smtClean="0">
                <a:solidFill>
                  <a:prstClr val="black"/>
                </a:solidFill>
              </a:rPr>
              <a:pPr marL="27549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1" name="Holder 3"/>
          <p:cNvSpPr>
            <a:spLocks noGrp="1"/>
          </p:cNvSpPr>
          <p:nvPr>
            <p:ph type="body" idx="1"/>
          </p:nvPr>
        </p:nvSpPr>
        <p:spPr>
          <a:xfrm>
            <a:off x="426724" y="1813560"/>
            <a:ext cx="11805920" cy="6934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latin typeface="Myriad Pro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ubtitle 2"/>
          <p:cNvSpPr txBox="1">
            <a:spLocks/>
          </p:cNvSpPr>
          <p:nvPr userDrawn="1"/>
        </p:nvSpPr>
        <p:spPr bwMode="auto">
          <a:xfrm>
            <a:off x="325834" y="8863374"/>
            <a:ext cx="580072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2055" tIns="61029" rIns="122055" bIns="61029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9pPr>
          </a:lstStyle>
          <a:p>
            <a:pPr>
              <a:buFontTx/>
              <a:buNone/>
            </a:pPr>
            <a:r>
              <a:rPr lang="ru-RU" altLang="ru-RU" sz="800" dirty="0">
                <a:solidFill>
                  <a:srgbClr val="4F81BD">
                    <a:lumMod val="50000"/>
                  </a:srgbClr>
                </a:solidFill>
                <a:latin typeface="Calibri" panose="020F0502020204030204" pitchFamily="34" charset="0"/>
              </a:rPr>
              <a:t>Высшая школа экономики, Москва, </a:t>
            </a:r>
            <a:r>
              <a:rPr lang="ru-RU" altLang="ru-RU" sz="800" dirty="0" smtClean="0">
                <a:solidFill>
                  <a:srgbClr val="4F81BD">
                    <a:lumMod val="50000"/>
                  </a:srgbClr>
                </a:solidFill>
                <a:latin typeface="Calibri" panose="020F0502020204030204" pitchFamily="34" charset="0"/>
              </a:rPr>
              <a:t>2016</a:t>
            </a:r>
            <a:endParaRPr kumimoji="1" lang="ru-RU" altLang="ru-RU" sz="800" dirty="0">
              <a:solidFill>
                <a:srgbClr val="4F81BD">
                  <a:lumMod val="50000"/>
                </a:srgb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1379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51034" y="0"/>
            <a:ext cx="10378929" cy="1665586"/>
          </a:xfrm>
          <a:prstGeom prst="rect">
            <a:avLst/>
          </a:prstGeom>
        </p:spPr>
        <p:txBody>
          <a:bodyPr lIns="122055" tIns="61029" rIns="122055" bIns="61029"/>
          <a:lstStyle>
            <a:lvl1pPr algn="l">
              <a:defRPr sz="45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080" y="2240289"/>
            <a:ext cx="11521440" cy="6336348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buFont typeface="Wingdings" pitchFamily="2" charset="2"/>
              <a:buChar char="v"/>
              <a:defRPr/>
            </a:lvl1pPr>
            <a:lvl2pPr>
              <a:buFont typeface="Wingdings" pitchFamily="2" charset="2"/>
              <a:buChar char="§"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51155" y="8898915"/>
            <a:ext cx="2987040" cy="511175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defRPr sz="1300">
                <a:latin typeface="+mn-lt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3880" y="8898915"/>
            <a:ext cx="4053840" cy="511175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defRPr sz="13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36734" y="8898915"/>
            <a:ext cx="2987040" cy="511175"/>
          </a:xfrm>
        </p:spPr>
        <p:txBody>
          <a:bodyPr/>
          <a:lstStyle>
            <a:lvl1pPr>
              <a:defRPr sz="1300"/>
            </a:lvl1pPr>
          </a:lstStyle>
          <a:p>
            <a:pPr>
              <a:defRPr/>
            </a:pPr>
            <a:fld id="{52F11DBE-FC88-4D7E-84D2-61CD5E917187}" type="slidenum">
              <a:rPr lang="en-US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497191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3083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3925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6067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7230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6496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6202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5826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1 (просто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7694296" y="7741367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13" y="8696485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1"/>
          <p:cNvSpPr txBox="1">
            <a:spLocks/>
          </p:cNvSpPr>
          <p:nvPr userDrawn="1"/>
        </p:nvSpPr>
        <p:spPr>
          <a:xfrm>
            <a:off x="1416750" y="8383309"/>
            <a:ext cx="754221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1247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2 (фирменный узор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D:\Инфографика\ВШЭ\00_Презентации и материалы\Материалы для наших презентаций\Материалы для экспериментов-09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95"/>
          <a:stretch/>
        </p:blipFill>
        <p:spPr bwMode="auto">
          <a:xfrm>
            <a:off x="0" y="0"/>
            <a:ext cx="12801600" cy="960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1613980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chemeClr val="bg1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3944937" y="5531359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ctr">
              <a:buNone/>
              <a:defRPr sz="3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13" y="86201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7" name="Picture 3" descr="D:\Инфографика\ВШЭ\00_Презентации и материалы\Материалы для наших презентаций\Логотип\Лого для легкой презентации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4621" y="6400830"/>
            <a:ext cx="2907918" cy="3044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90767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27549"/>
            <a:fld id="{81D60167-4931-47E6-BA6A-407CBD079E47}" type="slidenum">
              <a:rPr lang="ru-RU" smtClean="0">
                <a:solidFill>
                  <a:prstClr val="black"/>
                </a:solidFill>
              </a:rPr>
              <a:pPr marL="27549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Subtitle 2"/>
          <p:cNvSpPr txBox="1">
            <a:spLocks/>
          </p:cNvSpPr>
          <p:nvPr userDrawn="1"/>
        </p:nvSpPr>
        <p:spPr bwMode="auto">
          <a:xfrm>
            <a:off x="325834" y="8863374"/>
            <a:ext cx="5800725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2055" tIns="61029" rIns="122055" bIns="61029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Tahoma" pitchFamily="34" charset="0"/>
                <a:ea typeface="ＭＳ Ｐゴシック" pitchFamily="34" charset="-128"/>
              </a:defRPr>
            </a:lvl9pPr>
          </a:lstStyle>
          <a:p>
            <a:pPr>
              <a:buFontTx/>
              <a:buNone/>
            </a:pPr>
            <a:r>
              <a:rPr lang="ru-RU" altLang="ru-RU" sz="800" dirty="0">
                <a:solidFill>
                  <a:srgbClr val="4F81BD">
                    <a:lumMod val="50000"/>
                  </a:srgbClr>
                </a:solidFill>
                <a:latin typeface="Calibri" panose="020F0502020204030204" pitchFamily="34" charset="0"/>
              </a:rPr>
              <a:t>Высшая школа экономики, Москва, </a:t>
            </a:r>
            <a:r>
              <a:rPr lang="ru-RU" altLang="ru-RU" sz="800" dirty="0" smtClean="0">
                <a:solidFill>
                  <a:srgbClr val="4F81BD">
                    <a:lumMod val="50000"/>
                  </a:srgbClr>
                </a:solidFill>
                <a:latin typeface="Calibri" panose="020F0502020204030204" pitchFamily="34" charset="0"/>
              </a:rPr>
              <a:t>2016</a:t>
            </a:r>
            <a:endParaRPr kumimoji="1" lang="ru-RU" altLang="ru-RU" sz="800" dirty="0">
              <a:solidFill>
                <a:srgbClr val="4F81BD">
                  <a:lumMod val="50000"/>
                </a:srgb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54216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3 (угловые узоры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7"/>
          <p:cNvSpPr/>
          <p:nvPr userDrawn="1"/>
        </p:nvSpPr>
        <p:spPr>
          <a:xfrm>
            <a:off x="4" y="36"/>
            <a:ext cx="12801597" cy="2627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055" tIns="61029" rIns="122055" bIns="61029" rtlCol="0" anchor="ctr"/>
          <a:lstStyle/>
          <a:p>
            <a:pPr algn="ctr"/>
            <a:endParaRPr lang="ru-RU" sz="3100" dirty="0">
              <a:solidFill>
                <a:srgbClr val="FFFFFF"/>
              </a:solidFill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" y="39"/>
            <a:ext cx="3773805" cy="4547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1159" y="5051331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961258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4892373" y="78466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778311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4 (угловые узоры.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160" y="208054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26667" y="5051331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6383394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6314509" y="78466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Footer Placeholder 1"/>
          <p:cNvSpPr txBox="1">
            <a:spLocks/>
          </p:cNvSpPr>
          <p:nvPr userDrawn="1"/>
        </p:nvSpPr>
        <p:spPr>
          <a:xfrm>
            <a:off x="1416750" y="721511"/>
            <a:ext cx="754221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  <p:pic>
        <p:nvPicPr>
          <p:cNvPr id="1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413665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5784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5 (тематическое фот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799560" y="5024302"/>
            <a:ext cx="1118063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2"/>
          </p:nvPr>
        </p:nvSpPr>
        <p:spPr>
          <a:xfrm>
            <a:off x="0" y="202279"/>
            <a:ext cx="12801600" cy="4596131"/>
          </a:xfrm>
          <a:prstGeom prst="rect">
            <a:avLst/>
          </a:prstGeom>
        </p:spPr>
        <p:txBody>
          <a:bodyPr lIns="122055" tIns="61029" rIns="122055" bIns="61029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5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7694296" y="7850801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6" name="Текст 3"/>
          <p:cNvSpPr>
            <a:spLocks noGrp="1"/>
          </p:cNvSpPr>
          <p:nvPr>
            <p:ph type="body" sz="quarter" idx="15"/>
          </p:nvPr>
        </p:nvSpPr>
        <p:spPr>
          <a:xfrm>
            <a:off x="7625413" y="8552555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6188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новой главы/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584553" y="3392427"/>
            <a:ext cx="11628121" cy="2827020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ctr">
              <a:defRPr sz="5200" b="1">
                <a:solidFill>
                  <a:srgbClr val="1C5C99"/>
                </a:solidFill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5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3195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2" y="384502"/>
            <a:ext cx="1135075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2197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336053" y="384502"/>
            <a:ext cx="12252199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9362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текстов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29" y="1813564"/>
            <a:ext cx="5782057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527" y="384502"/>
            <a:ext cx="11286745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Holder 3"/>
          <p:cNvSpPr>
            <a:spLocks noGrp="1"/>
          </p:cNvSpPr>
          <p:nvPr>
            <p:ph type="body" idx="10" hasCustomPrompt="1"/>
          </p:nvPr>
        </p:nvSpPr>
        <p:spPr>
          <a:xfrm>
            <a:off x="6602450" y="1813564"/>
            <a:ext cx="5964483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8720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Рисунок 8"/>
          <p:cNvSpPr>
            <a:spLocks noGrp="1"/>
          </p:cNvSpPr>
          <p:nvPr>
            <p:ph type="pic" sz="quarter" idx="12"/>
          </p:nvPr>
        </p:nvSpPr>
        <p:spPr>
          <a:xfrm>
            <a:off x="7990353" y="1845579"/>
            <a:ext cx="4587241" cy="7243573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41" y="1813564"/>
            <a:ext cx="7147559" cy="7286244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275309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Диаграмма 8"/>
          <p:cNvSpPr>
            <a:spLocks noGrp="1"/>
          </p:cNvSpPr>
          <p:nvPr>
            <p:ph type="chart" sz="quarter" idx="12"/>
          </p:nvPr>
        </p:nvSpPr>
        <p:spPr>
          <a:xfrm>
            <a:off x="7872987" y="1845568"/>
            <a:ext cx="4725924" cy="7008876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диаграммы</a:t>
            </a: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36" y="1813560"/>
            <a:ext cx="7190231" cy="7061757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3508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5863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3 (угловые узоры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7"/>
          <p:cNvSpPr/>
          <p:nvPr userDrawn="1"/>
        </p:nvSpPr>
        <p:spPr>
          <a:xfrm>
            <a:off x="4" y="46"/>
            <a:ext cx="12801597" cy="2627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055" tIns="61029" rIns="122055" bIns="61029" rtlCol="0" anchor="ctr"/>
          <a:lstStyle/>
          <a:p>
            <a:pPr algn="ctr"/>
            <a:endParaRPr lang="ru-RU" sz="2500" dirty="0"/>
          </a:p>
        </p:txBody>
      </p:sp>
      <p:pic>
        <p:nvPicPr>
          <p:cNvPr id="16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" y="47"/>
            <a:ext cx="3773805" cy="4547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1176" y="5051341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961258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4892373" y="78466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8041989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 №2 (фирменный узор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D:\Инфографика\ВШЭ\00_Презентации и материалы\Материалы для наших презентаций\Материалы для экспериментов-09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95"/>
          <a:stretch/>
        </p:blipFill>
        <p:spPr bwMode="auto">
          <a:xfrm>
            <a:off x="0" y="0"/>
            <a:ext cx="12801600" cy="960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1613980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chemeClr val="bg1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3944937" y="5531359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ctr">
              <a:buNone/>
              <a:defRPr sz="3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13" y="86201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7" name="Picture 3" descr="D:\Инфографика\ВШЭ\00_Презентации и материалы\Материалы для наших презентаций\Логотип\Лого для легкой презентации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4621" y="6400840"/>
            <a:ext cx="2907918" cy="3044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4520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всем 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2471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51034" y="0"/>
            <a:ext cx="10378929" cy="1665586"/>
          </a:xfrm>
          <a:prstGeom prst="rect">
            <a:avLst/>
          </a:prstGeom>
        </p:spPr>
        <p:txBody>
          <a:bodyPr lIns="122055" tIns="61029" rIns="122055" bIns="61029"/>
          <a:lstStyle>
            <a:lvl1pPr algn="l">
              <a:defRPr sz="45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080" y="2240289"/>
            <a:ext cx="11521440" cy="6336348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buFont typeface="Wingdings" pitchFamily="2" charset="2"/>
              <a:buChar char="v"/>
              <a:defRPr/>
            </a:lvl1pPr>
            <a:lvl2pPr>
              <a:buFont typeface="Wingdings" pitchFamily="2" charset="2"/>
              <a:buChar char="§"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51155" y="8898915"/>
            <a:ext cx="2987040" cy="511175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defRPr sz="1300">
                <a:latin typeface="+mn-lt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3880" y="8898915"/>
            <a:ext cx="4053840" cy="511175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defRPr sz="13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36734" y="8898915"/>
            <a:ext cx="2987040" cy="511175"/>
          </a:xfrm>
        </p:spPr>
        <p:txBody>
          <a:bodyPr/>
          <a:lstStyle>
            <a:lvl1pPr>
              <a:defRPr sz="1300"/>
            </a:lvl1pPr>
          </a:lstStyle>
          <a:p>
            <a:pPr>
              <a:defRPr/>
            </a:pPr>
            <a:fld id="{52F11DBE-FC88-4D7E-84D2-61CD5E917187}" type="slidenum">
              <a:rPr lang="en-US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7850361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200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87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4436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2866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1685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7923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1396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1 (просто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39" y="3459544"/>
            <a:ext cx="9695199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52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7694295" y="7741367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2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07" y="8696485"/>
            <a:ext cx="4980622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15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798" y="8477623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oter Placeholder 1"/>
          <p:cNvSpPr txBox="1">
            <a:spLocks/>
          </p:cNvSpPr>
          <p:nvPr userDrawn="1"/>
        </p:nvSpPr>
        <p:spPr>
          <a:xfrm>
            <a:off x="1416740" y="8785465"/>
            <a:ext cx="7542214" cy="2369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773"/>
            <a:r>
              <a:rPr lang="ru-RU" sz="15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</p:spTree>
    <p:extLst>
      <p:ext uri="{BB962C8B-B14F-4D97-AF65-F5344CB8AC3E}">
        <p14:creationId xmlns:p14="http://schemas.microsoft.com/office/powerpoint/2010/main" val="3813610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4336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2 (фирменный узор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D:\Инфографика\ВШЭ\00_Презентации и материалы\Материалы для наших презентаций\Материалы для экспериментов-09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3360"/>
            <a:ext cx="12801600" cy="9387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39" y="1613980"/>
            <a:ext cx="9695199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5200" b="1" i="0">
                <a:solidFill>
                  <a:schemeClr val="bg1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3944937" y="5531359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ctr">
              <a:buNone/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07" y="8620147"/>
            <a:ext cx="4980622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1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9" name="Picture 3" descr="D:\Инфографика\ВШЭ\00_Презентации и материалы\Материалы для наших презентаций\Логотип\Лого для легкой презентации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4626" y="6854217"/>
            <a:ext cx="2907918" cy="2283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0822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3 (угловые узоры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7"/>
          <p:cNvSpPr/>
          <p:nvPr userDrawn="1"/>
        </p:nvSpPr>
        <p:spPr>
          <a:xfrm>
            <a:off x="22" y="26"/>
            <a:ext cx="12801599" cy="2627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055" tIns="61029" rIns="122055" bIns="61029" rtlCol="0" anchor="ctr"/>
          <a:lstStyle/>
          <a:p>
            <a:pPr algn="ctr"/>
            <a:endParaRPr lang="ru-RU" sz="2000" dirty="0">
              <a:solidFill>
                <a:srgbClr val="FFFFFF"/>
              </a:solidFill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" y="27"/>
            <a:ext cx="3773805" cy="4547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1145" y="5051324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39" y="3459544"/>
            <a:ext cx="9695199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52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961256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2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4892366" y="7846647"/>
            <a:ext cx="4980622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15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29470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4 (угловые узоры.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142" y="208047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26667" y="5051324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39" y="3459544"/>
            <a:ext cx="9695199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52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6383392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2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6314503" y="7846647"/>
            <a:ext cx="4980622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15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Footer Placeholder 1"/>
          <p:cNvSpPr txBox="1">
            <a:spLocks/>
          </p:cNvSpPr>
          <p:nvPr userDrawn="1"/>
        </p:nvSpPr>
        <p:spPr>
          <a:xfrm>
            <a:off x="1416740" y="721507"/>
            <a:ext cx="7542214" cy="2369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773"/>
            <a:r>
              <a:rPr lang="ru-RU" sz="15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  <p:pic>
        <p:nvPicPr>
          <p:cNvPr id="1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798" y="413665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7014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5 (тематическое фот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799529" y="5024302"/>
            <a:ext cx="11180635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52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2"/>
          </p:nvPr>
        </p:nvSpPr>
        <p:spPr>
          <a:xfrm>
            <a:off x="0" y="202272"/>
            <a:ext cx="12801600" cy="4596131"/>
          </a:xfrm>
          <a:prstGeom prst="rect">
            <a:avLst/>
          </a:prstGeom>
        </p:spPr>
        <p:txBody>
          <a:bodyPr lIns="122055" tIns="61029" rIns="122055" bIns="61029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cs typeface="Myriad Arabic" pitchFamily="50" charset="-78"/>
              </a:defRPr>
            </a:lvl1pPr>
          </a:lstStyle>
          <a:p>
            <a:pPr marL="27549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27549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5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7694295" y="7850795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2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6" name="Текст 3"/>
          <p:cNvSpPr>
            <a:spLocks noGrp="1"/>
          </p:cNvSpPr>
          <p:nvPr>
            <p:ph type="body" sz="quarter" idx="15"/>
          </p:nvPr>
        </p:nvSpPr>
        <p:spPr>
          <a:xfrm>
            <a:off x="7625407" y="8552548"/>
            <a:ext cx="4980622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15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1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798" y="8477623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9250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новой главы/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584520" y="3392427"/>
            <a:ext cx="11628120" cy="2827020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ctr">
              <a:defRPr sz="3900" b="1">
                <a:solidFill>
                  <a:srgbClr val="1C5C99"/>
                </a:solidFill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cs typeface="Myriad Arabic" pitchFamily="50" charset="-78"/>
              </a:defRPr>
            </a:lvl1pPr>
          </a:lstStyle>
          <a:p>
            <a:pPr marL="27549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27549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1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798" y="8477623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8403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>
                <a:latin typeface="+mj-lt"/>
              </a:defRPr>
            </a:lvl1pPr>
            <a:lvl2pPr marL="805748" indent="-309901">
              <a:buFont typeface="Wingdings" panose="05000000000000000000" pitchFamily="2" charset="2"/>
              <a:buChar char="§"/>
              <a:defRPr sz="1700">
                <a:latin typeface="+mj-lt"/>
              </a:defRPr>
            </a:lvl2pPr>
            <a:lvl3pPr marL="1239610" indent="-247922">
              <a:buFont typeface="Courier New" panose="02070309020205020404" pitchFamily="49" charset="0"/>
              <a:buChar char="o"/>
              <a:defRPr sz="15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330708" y="384502"/>
            <a:ext cx="1135075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2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2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06204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13" name="Изображение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29780" y="412035"/>
            <a:ext cx="583579" cy="739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834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>
                <a:latin typeface="+mj-lt"/>
              </a:defRPr>
            </a:lvl1pPr>
            <a:lvl2pPr marL="805748" indent="-309901">
              <a:buFont typeface="Wingdings" panose="05000000000000000000" pitchFamily="2" charset="2"/>
              <a:buChar char="§"/>
              <a:defRPr sz="1700">
                <a:latin typeface="+mj-lt"/>
              </a:defRPr>
            </a:lvl2pPr>
            <a:lvl3pPr marL="1239610" indent="-247922">
              <a:buFont typeface="Courier New" panose="02070309020205020404" pitchFamily="49" charset="0"/>
              <a:buChar char="o"/>
              <a:defRPr sz="15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cs typeface="Myriad Arabic" pitchFamily="50" charset="-78"/>
              </a:defRPr>
            </a:lvl1pPr>
          </a:lstStyle>
          <a:p>
            <a:pPr marL="27549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27549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336053" y="384502"/>
            <a:ext cx="12252199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2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42637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текстов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578205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>
                <a:latin typeface="+mj-lt"/>
              </a:defRPr>
            </a:lvl1pPr>
            <a:lvl2pPr marL="805748" indent="-309901">
              <a:buFont typeface="Wingdings" panose="05000000000000000000" pitchFamily="2" charset="2"/>
              <a:buChar char="§"/>
              <a:defRPr sz="1700">
                <a:latin typeface="+mj-lt"/>
              </a:defRPr>
            </a:lvl2pPr>
            <a:lvl3pPr marL="1239610" indent="-247922">
              <a:buFont typeface="Courier New" panose="02070309020205020404" pitchFamily="49" charset="0"/>
              <a:buChar char="o"/>
              <a:defRPr sz="15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cs typeface="Myriad Arabic" pitchFamily="50" charset="-78"/>
              </a:defRPr>
            </a:lvl1pPr>
          </a:lstStyle>
          <a:p>
            <a:pPr marL="27549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27549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6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946" y="404529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2" y="384502"/>
            <a:ext cx="1128674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2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Holder 3"/>
          <p:cNvSpPr>
            <a:spLocks noGrp="1"/>
          </p:cNvSpPr>
          <p:nvPr>
            <p:ph type="body" idx="10" hasCustomPrompt="1"/>
          </p:nvPr>
        </p:nvSpPr>
        <p:spPr>
          <a:xfrm>
            <a:off x="6602428" y="1813564"/>
            <a:ext cx="5964482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>
                <a:latin typeface="+mj-lt"/>
              </a:defRPr>
            </a:lvl1pPr>
            <a:lvl2pPr marL="805748" indent="-309901">
              <a:buFont typeface="Wingdings" panose="05000000000000000000" pitchFamily="2" charset="2"/>
              <a:buChar char="§"/>
              <a:defRPr sz="1700">
                <a:latin typeface="+mj-lt"/>
              </a:defRPr>
            </a:lvl2pPr>
            <a:lvl3pPr marL="1239610" indent="-247922">
              <a:buFont typeface="Courier New" panose="02070309020205020404" pitchFamily="49" charset="0"/>
              <a:buChar char="o"/>
              <a:defRPr sz="15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17235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Рисунок 8"/>
          <p:cNvSpPr>
            <a:spLocks noGrp="1"/>
          </p:cNvSpPr>
          <p:nvPr>
            <p:ph type="pic" sz="quarter" idx="12"/>
          </p:nvPr>
        </p:nvSpPr>
        <p:spPr>
          <a:xfrm>
            <a:off x="7990332" y="1845578"/>
            <a:ext cx="4587240" cy="7243573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000">
                <a:latin typeface="+mj-lt"/>
              </a:defRPr>
            </a:lvl1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29" y="1813564"/>
            <a:ext cx="7147559" cy="7286244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>
                <a:latin typeface="+mj-lt"/>
              </a:defRPr>
            </a:lvl1pPr>
            <a:lvl2pPr marL="805748" indent="-309901">
              <a:buFont typeface="Wingdings" panose="05000000000000000000" pitchFamily="2" charset="2"/>
              <a:buChar char="§"/>
              <a:defRPr sz="1700">
                <a:latin typeface="+mj-lt"/>
              </a:defRPr>
            </a:lvl2pPr>
            <a:lvl3pPr marL="1239610" indent="-247922">
              <a:buFont typeface="Courier New" panose="02070309020205020404" pitchFamily="49" charset="0"/>
              <a:buChar char="o"/>
              <a:defRPr sz="15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cs typeface="Myriad Arabic" pitchFamily="50" charset="-78"/>
              </a:defRPr>
            </a:lvl1pPr>
          </a:lstStyle>
          <a:p>
            <a:pPr marL="27549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27549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946" y="404529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2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335653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Диаграмма 8"/>
          <p:cNvSpPr>
            <a:spLocks noGrp="1"/>
          </p:cNvSpPr>
          <p:nvPr>
            <p:ph type="chart" sz="quarter" idx="12"/>
          </p:nvPr>
        </p:nvSpPr>
        <p:spPr>
          <a:xfrm>
            <a:off x="7872987" y="1845568"/>
            <a:ext cx="4725924" cy="7008876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000">
                <a:latin typeface="+mj-lt"/>
              </a:defRPr>
            </a:lvl1pPr>
          </a:lstStyle>
          <a:p>
            <a:r>
              <a:rPr lang="ru-RU" dirty="0" smtClean="0"/>
              <a:t>Вставка диаграммы</a:t>
            </a: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30" y="1813558"/>
            <a:ext cx="7190231" cy="7061757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>
                <a:latin typeface="+mj-lt"/>
              </a:defRPr>
            </a:lvl1pPr>
            <a:lvl2pPr marL="805748" indent="-309901">
              <a:buFont typeface="Wingdings" panose="05000000000000000000" pitchFamily="2" charset="2"/>
              <a:buChar char="§"/>
              <a:defRPr sz="1700">
                <a:latin typeface="+mj-lt"/>
              </a:defRPr>
            </a:lvl2pPr>
            <a:lvl3pPr marL="1239610" indent="-247922">
              <a:buFont typeface="Courier New" panose="02070309020205020404" pitchFamily="49" charset="0"/>
              <a:buChar char="o"/>
              <a:defRPr sz="15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pic>
        <p:nvPicPr>
          <p:cNvPr id="10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946" y="404529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2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+mj-lt"/>
                <a:cs typeface="Myriad Arabic" pitchFamily="50" charset="-78"/>
              </a:defRPr>
            </a:lvl1pPr>
          </a:lstStyle>
          <a:p>
            <a:pPr marL="27549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27549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5615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4834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946" y="404529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2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Myriad Pro" pitchFamily="34" charset="0"/>
                <a:cs typeface="Myriad Arabic" pitchFamily="50" charset="-78"/>
              </a:defRPr>
            </a:lvl1pPr>
          </a:lstStyle>
          <a:p>
            <a:pPr marL="27549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27549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44919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всем 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100">
                <a:latin typeface="Myriad Pro" pitchFamily="34" charset="0"/>
                <a:cs typeface="Myriad Arabic" pitchFamily="50" charset="-78"/>
              </a:defRPr>
            </a:lvl1pPr>
          </a:lstStyle>
          <a:p>
            <a:pPr marL="27549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27549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2189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4572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48887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2755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6705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3641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3915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0678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ject 2"/>
          <p:cNvSpPr txBox="1">
            <a:spLocks noGrp="1"/>
          </p:cNvSpPr>
          <p:nvPr>
            <p:ph type="title" hasCustomPrompt="1"/>
          </p:nvPr>
        </p:nvSpPr>
        <p:spPr>
          <a:xfrm>
            <a:off x="506108" y="2592460"/>
            <a:ext cx="11785298" cy="5657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5585" marR="6234">
              <a:lnSpc>
                <a:spcPct val="101099"/>
              </a:lnSpc>
              <a:tabLst>
                <a:tab pos="3243066" algn="l"/>
              </a:tabLst>
              <a:defRPr sz="3600">
                <a:solidFill>
                  <a:schemeClr val="accent6"/>
                </a:solidFill>
                <a:latin typeface="+mj-lt"/>
              </a:defRPr>
            </a:lvl1pPr>
          </a:lstStyle>
          <a:p>
            <a:pPr marL="11132" marR="4453">
              <a:lnSpc>
                <a:spcPct val="101099"/>
              </a:lnSpc>
              <a:tabLst>
                <a:tab pos="2316476" algn="l"/>
              </a:tabLst>
            </a:pPr>
            <a:r>
              <a:rPr lang="ru-RU" sz="3600" dirty="0" smtClean="0">
                <a:latin typeface="Arial"/>
                <a:cs typeface="Arial"/>
              </a:rPr>
              <a:t>Название презентации</a:t>
            </a:r>
            <a:endParaRPr sz="3600" dirty="0">
              <a:latin typeface="Arial"/>
              <a:cs typeface="Arial"/>
            </a:endParaRPr>
          </a:p>
        </p:txBody>
      </p:sp>
      <p:pic>
        <p:nvPicPr>
          <p:cNvPr id="8" name="Изображение 14" descr="1_Визитная карточка-04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518"/>
          <a:stretch/>
        </p:blipFill>
        <p:spPr>
          <a:xfrm>
            <a:off x="11515398" y="706846"/>
            <a:ext cx="776009" cy="764779"/>
          </a:xfrm>
          <a:prstGeom prst="rect">
            <a:avLst/>
          </a:prstGeom>
        </p:spPr>
      </p:pic>
      <p:grpSp>
        <p:nvGrpSpPr>
          <p:cNvPr id="5" name="Группа 4"/>
          <p:cNvGrpSpPr/>
          <p:nvPr userDrawn="1"/>
        </p:nvGrpSpPr>
        <p:grpSpPr>
          <a:xfrm>
            <a:off x="506109" y="1678343"/>
            <a:ext cx="11789383" cy="6244517"/>
            <a:chOff x="361506" y="1198816"/>
            <a:chExt cx="8420988" cy="4460369"/>
          </a:xfrm>
        </p:grpSpPr>
        <p:cxnSp>
          <p:nvCxnSpPr>
            <p:cNvPr id="3" name="Прямая соединительная линия 2"/>
            <p:cNvCxnSpPr/>
            <p:nvPr userDrawn="1"/>
          </p:nvCxnSpPr>
          <p:spPr>
            <a:xfrm>
              <a:off x="361506" y="1198816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/>
            <p:cNvCxnSpPr/>
            <p:nvPr userDrawn="1"/>
          </p:nvCxnSpPr>
          <p:spPr>
            <a:xfrm>
              <a:off x="361506" y="5659185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506108" y="5195810"/>
            <a:ext cx="11785299" cy="3447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 smtClean="0"/>
              <a:t>Адресат презентации, дата</a:t>
            </a:r>
          </a:p>
        </p:txBody>
      </p:sp>
    </p:spTree>
    <p:extLst>
      <p:ext uri="{BB962C8B-B14F-4D97-AF65-F5344CB8AC3E}">
        <p14:creationId xmlns:p14="http://schemas.microsoft.com/office/powerpoint/2010/main" val="889761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9065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1367461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0" y="9250658"/>
            <a:ext cx="11390400" cy="20005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3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504000" y="8981612"/>
            <a:ext cx="11390400" cy="20005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>
              <a:buNone/>
              <a:defRPr sz="1300" baseline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ru-RU" dirty="0" smtClean="0"/>
              <a:t>1 Сноска</a:t>
            </a:r>
            <a:endParaRPr lang="ru-RU" dirty="0"/>
          </a:p>
        </p:txBody>
      </p:sp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504000" y="373581"/>
            <a:ext cx="11793600" cy="448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marL="0" lvl="0" defTabSz="640080" hangingPunct="0">
              <a:lnSpc>
                <a:spcPts val="3500"/>
              </a:lnSpc>
            </a:pPr>
            <a:r>
              <a:rPr lang="ru-RU" altLang="zh-CN" dirty="0" smtClean="0"/>
              <a:t>Образец заголовка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3748621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504000" y="373581"/>
            <a:ext cx="11793600" cy="448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marL="0" lvl="0" defTabSz="640080" hangingPunct="0">
              <a:lnSpc>
                <a:spcPts val="3500"/>
              </a:lnSpc>
            </a:pPr>
            <a:r>
              <a:rPr lang="ru-RU" altLang="zh-CN" dirty="0" smtClean="0"/>
              <a:t>Образец заголовка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1996450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225" y="2225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4" imgW="229" imgH="229" progId="TCLayout.ActiveDocument.1">
                  <p:embed/>
                </p:oleObj>
              </mc:Choice>
              <mc:Fallback>
                <p:oleObj name="think-cell Slide" r:id="rId4" imgW="229" imgH="2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25" y="2225"/>
                        <a:ext cx="2222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ject 2"/>
          <p:cNvSpPr txBox="1">
            <a:spLocks noGrp="1"/>
          </p:cNvSpPr>
          <p:nvPr>
            <p:ph type="title" hasCustomPrompt="1"/>
          </p:nvPr>
        </p:nvSpPr>
        <p:spPr>
          <a:xfrm>
            <a:off x="506108" y="2592460"/>
            <a:ext cx="11785298" cy="5657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5585" marR="6234">
              <a:lnSpc>
                <a:spcPct val="101099"/>
              </a:lnSpc>
              <a:tabLst>
                <a:tab pos="3243066" algn="l"/>
              </a:tabLst>
              <a:defRPr sz="3600">
                <a:solidFill>
                  <a:schemeClr val="accent6"/>
                </a:solidFill>
                <a:latin typeface="+mj-lt"/>
              </a:defRPr>
            </a:lvl1pPr>
          </a:lstStyle>
          <a:p>
            <a:pPr marL="11132" marR="4453">
              <a:lnSpc>
                <a:spcPct val="101099"/>
              </a:lnSpc>
              <a:tabLst>
                <a:tab pos="2316476" algn="l"/>
              </a:tabLst>
            </a:pPr>
            <a:r>
              <a:rPr lang="ru-RU" sz="3600" dirty="0" smtClean="0">
                <a:latin typeface="Arial"/>
                <a:cs typeface="Arial"/>
              </a:rPr>
              <a:t>Название презентации</a:t>
            </a:r>
            <a:endParaRPr sz="3600" dirty="0">
              <a:latin typeface="Arial"/>
              <a:cs typeface="Arial"/>
            </a:endParaRPr>
          </a:p>
        </p:txBody>
      </p:sp>
      <p:pic>
        <p:nvPicPr>
          <p:cNvPr id="8" name="Изображение 14" descr="1_Визитная карточка-04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518"/>
          <a:stretch/>
        </p:blipFill>
        <p:spPr>
          <a:xfrm>
            <a:off x="11515399" y="706857"/>
            <a:ext cx="776009" cy="764779"/>
          </a:xfrm>
          <a:prstGeom prst="rect">
            <a:avLst/>
          </a:prstGeom>
        </p:spPr>
      </p:pic>
      <p:grpSp>
        <p:nvGrpSpPr>
          <p:cNvPr id="5" name="Группа 4"/>
          <p:cNvGrpSpPr/>
          <p:nvPr userDrawn="1"/>
        </p:nvGrpSpPr>
        <p:grpSpPr>
          <a:xfrm>
            <a:off x="506110" y="1678354"/>
            <a:ext cx="11789383" cy="6244517"/>
            <a:chOff x="361506" y="1198816"/>
            <a:chExt cx="8420988" cy="4460369"/>
          </a:xfrm>
        </p:grpSpPr>
        <p:cxnSp>
          <p:nvCxnSpPr>
            <p:cNvPr id="3" name="Прямая соединительная линия 2"/>
            <p:cNvCxnSpPr/>
            <p:nvPr userDrawn="1"/>
          </p:nvCxnSpPr>
          <p:spPr>
            <a:xfrm>
              <a:off x="361506" y="1198816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/>
            <p:cNvCxnSpPr/>
            <p:nvPr userDrawn="1"/>
          </p:nvCxnSpPr>
          <p:spPr>
            <a:xfrm>
              <a:off x="361506" y="5659185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506119" y="5195821"/>
            <a:ext cx="11785299" cy="3447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 smtClean="0"/>
              <a:t>Адресат презентации, дата</a:t>
            </a:r>
          </a:p>
        </p:txBody>
      </p:sp>
    </p:spTree>
    <p:extLst>
      <p:ext uri="{BB962C8B-B14F-4D97-AF65-F5344CB8AC3E}">
        <p14:creationId xmlns:p14="http://schemas.microsoft.com/office/powerpoint/2010/main" val="31975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348784"/>
              </p:ext>
            </p:extLst>
          </p:nvPr>
        </p:nvGraphicFramePr>
        <p:xfrm>
          <a:off x="2225" y="2225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5" imgW="229" imgH="229" progId="TCLayout.ActiveDocument.1">
                  <p:embed/>
                </p:oleObj>
              </mc:Choice>
              <mc:Fallback>
                <p:oleObj name="think-cell Slide" r:id="rId5" imgW="229" imgH="2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25" y="2225"/>
                        <a:ext cx="2222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0" y="9250658"/>
            <a:ext cx="11390400" cy="20005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3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504000" y="8981613"/>
            <a:ext cx="11390400" cy="20005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>
              <a:buNone/>
              <a:defRPr sz="1300" baseline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ru-RU" dirty="0" smtClean="0"/>
              <a:t>1 Сноска</a:t>
            </a:r>
            <a:endParaRPr lang="ru-RU" dirty="0"/>
          </a:p>
        </p:txBody>
      </p:sp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504000" y="373592"/>
            <a:ext cx="11793600" cy="448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marL="0" lvl="0" defTabSz="639464" hangingPunct="0">
              <a:lnSpc>
                <a:spcPts val="3500"/>
              </a:lnSpc>
            </a:pPr>
            <a:r>
              <a:rPr lang="ru-RU" altLang="zh-CN" dirty="0" smtClean="0"/>
              <a:t>Образец заголовка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097732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25" y="2225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5" imgW="229" imgH="229" progId="TCLayout.ActiveDocument.1">
                  <p:embed/>
                </p:oleObj>
              </mc:Choice>
              <mc:Fallback>
                <p:oleObj name="think-cell Slide" r:id="rId5" imgW="229" imgH="2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25" y="2225"/>
                        <a:ext cx="2222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504000" y="373592"/>
            <a:ext cx="11793600" cy="448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marL="0" lvl="0" defTabSz="639464" hangingPunct="0">
              <a:lnSpc>
                <a:spcPts val="3500"/>
              </a:lnSpc>
            </a:pPr>
            <a:r>
              <a:rPr lang="ru-RU" altLang="zh-CN" dirty="0" smtClean="0"/>
              <a:t>Образец заголовка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278178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225" y="2225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Slide" r:id="rId4" imgW="229" imgH="229" progId="TCLayout.ActiveDocument.1">
                  <p:embed/>
                </p:oleObj>
              </mc:Choice>
              <mc:Fallback>
                <p:oleObj name="think-cell Slide" r:id="rId4" imgW="229" imgH="2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25" y="2225"/>
                        <a:ext cx="2222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ject 2"/>
          <p:cNvSpPr txBox="1">
            <a:spLocks noGrp="1"/>
          </p:cNvSpPr>
          <p:nvPr>
            <p:ph type="title" hasCustomPrompt="1"/>
          </p:nvPr>
        </p:nvSpPr>
        <p:spPr>
          <a:xfrm>
            <a:off x="506108" y="2592460"/>
            <a:ext cx="11785298" cy="5657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5585" marR="6234">
              <a:lnSpc>
                <a:spcPct val="101099"/>
              </a:lnSpc>
              <a:tabLst>
                <a:tab pos="3243066" algn="l"/>
              </a:tabLst>
              <a:defRPr sz="3600">
                <a:solidFill>
                  <a:schemeClr val="accent6"/>
                </a:solidFill>
                <a:latin typeface="+mj-lt"/>
              </a:defRPr>
            </a:lvl1pPr>
          </a:lstStyle>
          <a:p>
            <a:pPr marL="11132" marR="4453">
              <a:lnSpc>
                <a:spcPct val="101099"/>
              </a:lnSpc>
              <a:tabLst>
                <a:tab pos="2316476" algn="l"/>
              </a:tabLst>
            </a:pPr>
            <a:r>
              <a:rPr lang="ru-RU" sz="3600" dirty="0" smtClean="0">
                <a:latin typeface="Arial"/>
                <a:cs typeface="Arial"/>
              </a:rPr>
              <a:t>Название презентации</a:t>
            </a:r>
            <a:endParaRPr sz="3600" dirty="0">
              <a:latin typeface="Arial"/>
              <a:cs typeface="Arial"/>
            </a:endParaRPr>
          </a:p>
        </p:txBody>
      </p:sp>
      <p:pic>
        <p:nvPicPr>
          <p:cNvPr id="8" name="Изображение 14" descr="1_Визитная карточка-04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518"/>
          <a:stretch/>
        </p:blipFill>
        <p:spPr>
          <a:xfrm>
            <a:off x="11515399" y="706857"/>
            <a:ext cx="776009" cy="764779"/>
          </a:xfrm>
          <a:prstGeom prst="rect">
            <a:avLst/>
          </a:prstGeom>
        </p:spPr>
      </p:pic>
      <p:grpSp>
        <p:nvGrpSpPr>
          <p:cNvPr id="5" name="Группа 4"/>
          <p:cNvGrpSpPr/>
          <p:nvPr userDrawn="1"/>
        </p:nvGrpSpPr>
        <p:grpSpPr>
          <a:xfrm>
            <a:off x="506110" y="1678354"/>
            <a:ext cx="11789383" cy="6244517"/>
            <a:chOff x="361506" y="1198816"/>
            <a:chExt cx="8420988" cy="4460369"/>
          </a:xfrm>
        </p:grpSpPr>
        <p:cxnSp>
          <p:nvCxnSpPr>
            <p:cNvPr id="3" name="Прямая соединительная линия 2"/>
            <p:cNvCxnSpPr/>
            <p:nvPr userDrawn="1"/>
          </p:nvCxnSpPr>
          <p:spPr>
            <a:xfrm>
              <a:off x="361506" y="1198816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/>
            <p:cNvCxnSpPr/>
            <p:nvPr userDrawn="1"/>
          </p:nvCxnSpPr>
          <p:spPr>
            <a:xfrm>
              <a:off x="361506" y="5659185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506119" y="5195821"/>
            <a:ext cx="11785299" cy="3447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2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 smtClean="0"/>
              <a:t>Адресат презентации, дата</a:t>
            </a:r>
          </a:p>
        </p:txBody>
      </p:sp>
    </p:spTree>
    <p:extLst>
      <p:ext uri="{BB962C8B-B14F-4D97-AF65-F5344CB8AC3E}">
        <p14:creationId xmlns:p14="http://schemas.microsoft.com/office/powerpoint/2010/main" val="12427940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508450"/>
              </p:ext>
            </p:extLst>
          </p:nvPr>
        </p:nvGraphicFramePr>
        <p:xfrm>
          <a:off x="2225" y="2225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think-cell Slide" r:id="rId5" imgW="229" imgH="229" progId="TCLayout.ActiveDocument.1">
                  <p:embed/>
                </p:oleObj>
              </mc:Choice>
              <mc:Fallback>
                <p:oleObj name="think-cell Slide" r:id="rId5" imgW="229" imgH="2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25" y="2225"/>
                        <a:ext cx="2222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504000" y="9250658"/>
            <a:ext cx="11390400" cy="20005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3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504000" y="8981613"/>
            <a:ext cx="11390400" cy="20005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>
              <a:buNone/>
              <a:defRPr sz="1300" baseline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ru-RU" dirty="0" smtClean="0"/>
              <a:t>1 Сноска</a:t>
            </a:r>
            <a:endParaRPr lang="ru-RU" dirty="0"/>
          </a:p>
        </p:txBody>
      </p:sp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504000" y="373592"/>
            <a:ext cx="11793600" cy="448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marL="0" lvl="0" defTabSz="639464" hangingPunct="0">
              <a:lnSpc>
                <a:spcPts val="3500"/>
              </a:lnSpc>
            </a:pPr>
            <a:r>
              <a:rPr lang="ru-RU" altLang="zh-CN" dirty="0" smtClean="0"/>
              <a:t>Образец заголовка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4248501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25" y="2225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think-cell Slide" r:id="rId5" imgW="229" imgH="229" progId="TCLayout.ActiveDocument.1">
                  <p:embed/>
                </p:oleObj>
              </mc:Choice>
              <mc:Fallback>
                <p:oleObj name="think-cell Slide" r:id="rId5" imgW="229" imgH="2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25" y="2225"/>
                        <a:ext cx="2222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504000" y="373592"/>
            <a:ext cx="11793600" cy="448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marL="0" lvl="0" defTabSz="639464" hangingPunct="0">
              <a:lnSpc>
                <a:spcPts val="3500"/>
              </a:lnSpc>
            </a:pPr>
            <a:r>
              <a:rPr lang="ru-RU" altLang="zh-CN" dirty="0" smtClean="0"/>
              <a:t>Образец заголовка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28844333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631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9718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6144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9561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1 (просто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39" y="3459544"/>
            <a:ext cx="9695199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7694295" y="7741367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07" y="8696485"/>
            <a:ext cx="4980622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15" y="8477623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oter Placeholder 1"/>
          <p:cNvSpPr txBox="1">
            <a:spLocks/>
          </p:cNvSpPr>
          <p:nvPr userDrawn="1"/>
        </p:nvSpPr>
        <p:spPr>
          <a:xfrm>
            <a:off x="1416748" y="8785467"/>
            <a:ext cx="754221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</p:spTree>
    <p:extLst>
      <p:ext uri="{BB962C8B-B14F-4D97-AF65-F5344CB8AC3E}">
        <p14:creationId xmlns:p14="http://schemas.microsoft.com/office/powerpoint/2010/main" val="2756518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2 (фирменный узор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D:\Инфографика\ВШЭ\00_Презентации и материалы\Материалы для наших презентаций\Материалы для экспериментов-09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3360"/>
            <a:ext cx="12801600" cy="9387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39" y="1613980"/>
            <a:ext cx="9695199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chemeClr val="bg1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3944937" y="5531359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ctr">
              <a:buNone/>
              <a:defRPr sz="3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07" y="8620147"/>
            <a:ext cx="4980622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9" name="Picture 3" descr="D:\Инфографика\ВШЭ\00_Презентации и материалы\Материалы для наших презентаций\Логотип\Лого для легкой презентации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4642" y="6854227"/>
            <a:ext cx="2907918" cy="2283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6744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4 (угловые узоры.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172" y="208054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26667" y="5051341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6383394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6314509" y="78466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Footer Placeholder 1"/>
          <p:cNvSpPr txBox="1">
            <a:spLocks/>
          </p:cNvSpPr>
          <p:nvPr userDrawn="1"/>
        </p:nvSpPr>
        <p:spPr>
          <a:xfrm>
            <a:off x="1416750" y="721511"/>
            <a:ext cx="754221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latin typeface="+mj-lt"/>
              </a:rPr>
              <a:t>Институт статистических исследований и экономики знаний</a:t>
            </a:r>
          </a:p>
        </p:txBody>
      </p:sp>
      <p:pic>
        <p:nvPicPr>
          <p:cNvPr id="1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413665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7870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3 (угловые узоры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7"/>
          <p:cNvSpPr/>
          <p:nvPr userDrawn="1"/>
        </p:nvSpPr>
        <p:spPr>
          <a:xfrm>
            <a:off x="35" y="36"/>
            <a:ext cx="12801599" cy="2627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055" tIns="61029" rIns="122055" bIns="61029" rtlCol="0" anchor="ctr"/>
          <a:lstStyle/>
          <a:p>
            <a:pPr algn="ctr"/>
            <a:endParaRPr lang="ru-RU" sz="3100" dirty="0">
              <a:solidFill>
                <a:srgbClr val="FFFFFF"/>
              </a:solidFill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" y="36"/>
            <a:ext cx="3773805" cy="4547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1157" y="5051333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39" y="3459544"/>
            <a:ext cx="9695199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961256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4892373" y="7846647"/>
            <a:ext cx="4980622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600822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4 (угловые узоры.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142" y="208054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26667" y="5051333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39" y="3459544"/>
            <a:ext cx="9695199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6383392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6314517" y="7846647"/>
            <a:ext cx="4980622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Footer Placeholder 1"/>
          <p:cNvSpPr txBox="1">
            <a:spLocks/>
          </p:cNvSpPr>
          <p:nvPr userDrawn="1"/>
        </p:nvSpPr>
        <p:spPr>
          <a:xfrm>
            <a:off x="1416748" y="721511"/>
            <a:ext cx="754221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  <p:pic>
        <p:nvPicPr>
          <p:cNvPr id="1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15" y="413665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769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5 (тематическое фот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799529" y="5024302"/>
            <a:ext cx="11180635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2"/>
          </p:nvPr>
        </p:nvSpPr>
        <p:spPr>
          <a:xfrm>
            <a:off x="0" y="202279"/>
            <a:ext cx="12801600" cy="4596131"/>
          </a:xfrm>
          <a:prstGeom prst="rect">
            <a:avLst/>
          </a:prstGeom>
        </p:spPr>
        <p:txBody>
          <a:bodyPr lIns="122055" tIns="61029" rIns="122055" bIns="61029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5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7694295" y="7850795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6" name="Текст 3"/>
          <p:cNvSpPr>
            <a:spLocks noGrp="1"/>
          </p:cNvSpPr>
          <p:nvPr>
            <p:ph type="body" sz="quarter" idx="15"/>
          </p:nvPr>
        </p:nvSpPr>
        <p:spPr>
          <a:xfrm>
            <a:off x="7625407" y="8552548"/>
            <a:ext cx="4980622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1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15" y="8477623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1530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новой главы/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584520" y="3392427"/>
            <a:ext cx="11628120" cy="2827020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ctr">
              <a:defRPr sz="5200" b="1">
                <a:solidFill>
                  <a:srgbClr val="1C5C99"/>
                </a:solidFill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1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15" y="8477623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1157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6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963" y="404529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2" y="384502"/>
            <a:ext cx="1135075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5813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336053" y="384502"/>
            <a:ext cx="12252199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45040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текстов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578205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6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963" y="404529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2" y="384502"/>
            <a:ext cx="1128674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Holder 3"/>
          <p:cNvSpPr>
            <a:spLocks noGrp="1"/>
          </p:cNvSpPr>
          <p:nvPr>
            <p:ph type="body" idx="10" hasCustomPrompt="1"/>
          </p:nvPr>
        </p:nvSpPr>
        <p:spPr>
          <a:xfrm>
            <a:off x="6602428" y="1813564"/>
            <a:ext cx="5964482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97630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Рисунок 8"/>
          <p:cNvSpPr>
            <a:spLocks noGrp="1"/>
          </p:cNvSpPr>
          <p:nvPr>
            <p:ph type="pic" sz="quarter" idx="12"/>
          </p:nvPr>
        </p:nvSpPr>
        <p:spPr>
          <a:xfrm>
            <a:off x="7990332" y="1845578"/>
            <a:ext cx="4587240" cy="7243573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41" y="1813564"/>
            <a:ext cx="7147559" cy="7286244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963" y="404529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04902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Диаграмма 8"/>
          <p:cNvSpPr>
            <a:spLocks noGrp="1"/>
          </p:cNvSpPr>
          <p:nvPr>
            <p:ph type="chart" sz="quarter" idx="12"/>
          </p:nvPr>
        </p:nvSpPr>
        <p:spPr>
          <a:xfrm>
            <a:off x="7872987" y="1845568"/>
            <a:ext cx="4725924" cy="7008876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диаграммы</a:t>
            </a: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36" y="1813558"/>
            <a:ext cx="7190231" cy="7061757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pic>
        <p:nvPicPr>
          <p:cNvPr id="10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963" y="404529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660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963" y="404529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2646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5 (тематическое фот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799573" y="5024302"/>
            <a:ext cx="1118063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2"/>
          </p:nvPr>
        </p:nvSpPr>
        <p:spPr>
          <a:xfrm>
            <a:off x="0" y="202286"/>
            <a:ext cx="12801600" cy="4596131"/>
          </a:xfrm>
          <a:prstGeom prst="rect">
            <a:avLst/>
          </a:prstGeom>
        </p:spPr>
        <p:txBody>
          <a:bodyPr lIns="122055" tIns="61029" rIns="122055" bIns="61029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sp>
        <p:nvSpPr>
          <p:cNvPr id="15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7694296" y="7850801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6" name="Текст 3"/>
          <p:cNvSpPr>
            <a:spLocks noGrp="1"/>
          </p:cNvSpPr>
          <p:nvPr>
            <p:ph type="body" sz="quarter" idx="15"/>
          </p:nvPr>
        </p:nvSpPr>
        <p:spPr>
          <a:xfrm>
            <a:off x="7625413" y="8552555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1921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всем 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0066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82218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79852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4939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1 (просто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7694296" y="7741367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13" y="8696485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1"/>
          <p:cNvSpPr txBox="1">
            <a:spLocks/>
          </p:cNvSpPr>
          <p:nvPr userDrawn="1"/>
        </p:nvSpPr>
        <p:spPr>
          <a:xfrm>
            <a:off x="1416750" y="8383309"/>
            <a:ext cx="754221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85077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2 (фирменный узор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D:\Инфографика\ВШЭ\00_Презентации и материалы\Материалы для наших презентаций\Материалы для экспериментов-09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95"/>
          <a:stretch/>
        </p:blipFill>
        <p:spPr bwMode="auto">
          <a:xfrm>
            <a:off x="0" y="0"/>
            <a:ext cx="12801600" cy="960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1613980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chemeClr val="bg1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3944937" y="5531359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ctr">
              <a:buNone/>
              <a:defRPr sz="3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13" y="86201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7" name="Picture 3" descr="D:\Инфографика\ВШЭ\00_Презентации и материалы\Материалы для наших презентаций\Логотип\Лого для легкой презентации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4621" y="6400840"/>
            <a:ext cx="2907918" cy="3044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62842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3 (угловые узоры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7"/>
          <p:cNvSpPr/>
          <p:nvPr userDrawn="1"/>
        </p:nvSpPr>
        <p:spPr>
          <a:xfrm>
            <a:off x="4" y="46"/>
            <a:ext cx="12801597" cy="2627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055" tIns="61029" rIns="122055" bIns="61029" rtlCol="0" anchor="ctr"/>
          <a:lstStyle/>
          <a:p>
            <a:pPr algn="ctr"/>
            <a:endParaRPr lang="ru-RU" sz="3100" dirty="0">
              <a:solidFill>
                <a:srgbClr val="FFFFFF"/>
              </a:solidFill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" y="47"/>
            <a:ext cx="3773805" cy="4547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1176" y="5051341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961258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4892373" y="78466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684193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4 (угловые узоры.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172" y="208054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26667" y="5051341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6383394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6314509" y="78466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Footer Placeholder 1"/>
          <p:cNvSpPr txBox="1">
            <a:spLocks/>
          </p:cNvSpPr>
          <p:nvPr userDrawn="1"/>
        </p:nvSpPr>
        <p:spPr>
          <a:xfrm>
            <a:off x="1416750" y="721511"/>
            <a:ext cx="754221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  <p:pic>
        <p:nvPicPr>
          <p:cNvPr id="1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413665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1093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5 (тематическое фот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799573" y="5024302"/>
            <a:ext cx="1118063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2"/>
          </p:nvPr>
        </p:nvSpPr>
        <p:spPr>
          <a:xfrm>
            <a:off x="0" y="202286"/>
            <a:ext cx="12801600" cy="4596131"/>
          </a:xfrm>
          <a:prstGeom prst="rect">
            <a:avLst/>
          </a:prstGeom>
        </p:spPr>
        <p:txBody>
          <a:bodyPr lIns="122055" tIns="61029" rIns="122055" bIns="61029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5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7694296" y="7850801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6" name="Текст 3"/>
          <p:cNvSpPr>
            <a:spLocks noGrp="1"/>
          </p:cNvSpPr>
          <p:nvPr>
            <p:ph type="body" sz="quarter" idx="15"/>
          </p:nvPr>
        </p:nvSpPr>
        <p:spPr>
          <a:xfrm>
            <a:off x="7625413" y="8552555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32919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новой главы/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584567" y="3392427"/>
            <a:ext cx="11628121" cy="2827020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ctr">
              <a:defRPr sz="5200" b="1">
                <a:solidFill>
                  <a:srgbClr val="1C5C99"/>
                </a:solidFill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5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9414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новой главы/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584567" y="3392427"/>
            <a:ext cx="11628121" cy="2827020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ctr">
              <a:defRPr sz="5200" b="1">
                <a:solidFill>
                  <a:srgbClr val="1C5C99"/>
                </a:solidFill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5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6027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2" y="384502"/>
            <a:ext cx="1135075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40034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336053" y="384502"/>
            <a:ext cx="12252199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6097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текстов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29" y="1813564"/>
            <a:ext cx="5782057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535" y="384502"/>
            <a:ext cx="11286745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Holder 3"/>
          <p:cNvSpPr>
            <a:spLocks noGrp="1"/>
          </p:cNvSpPr>
          <p:nvPr>
            <p:ph type="body" idx="10" hasCustomPrompt="1"/>
          </p:nvPr>
        </p:nvSpPr>
        <p:spPr>
          <a:xfrm>
            <a:off x="6602460" y="1813564"/>
            <a:ext cx="5964483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94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Рисунок 8"/>
          <p:cNvSpPr>
            <a:spLocks noGrp="1"/>
          </p:cNvSpPr>
          <p:nvPr>
            <p:ph type="pic" sz="quarter" idx="12"/>
          </p:nvPr>
        </p:nvSpPr>
        <p:spPr>
          <a:xfrm>
            <a:off x="7990353" y="1845579"/>
            <a:ext cx="4587241" cy="7243573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41" y="1813564"/>
            <a:ext cx="7147559" cy="7286244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7366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Диаграмма 8"/>
          <p:cNvSpPr>
            <a:spLocks noGrp="1"/>
          </p:cNvSpPr>
          <p:nvPr>
            <p:ph type="chart" sz="quarter" idx="12"/>
          </p:nvPr>
        </p:nvSpPr>
        <p:spPr>
          <a:xfrm>
            <a:off x="7872987" y="1845568"/>
            <a:ext cx="4725924" cy="7008876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диаграммы</a:t>
            </a: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36" y="1813560"/>
            <a:ext cx="7190231" cy="7061757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0202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71447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всем 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5151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51034" y="0"/>
            <a:ext cx="10378929" cy="1665586"/>
          </a:xfrm>
          <a:prstGeom prst="rect">
            <a:avLst/>
          </a:prstGeom>
        </p:spPr>
        <p:txBody>
          <a:bodyPr lIns="122055" tIns="61029" rIns="122055" bIns="61029"/>
          <a:lstStyle>
            <a:lvl1pPr algn="l">
              <a:defRPr sz="45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080" y="2240289"/>
            <a:ext cx="11521440" cy="6336348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buFont typeface="Wingdings" pitchFamily="2" charset="2"/>
              <a:buChar char="v"/>
              <a:defRPr/>
            </a:lvl1pPr>
            <a:lvl2pPr>
              <a:buFont typeface="Wingdings" pitchFamily="2" charset="2"/>
              <a:buChar char="§"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51155" y="8898915"/>
            <a:ext cx="2987040" cy="511175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defRPr sz="1300">
                <a:latin typeface="+mn-lt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3880" y="8898915"/>
            <a:ext cx="4053840" cy="511175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defRPr sz="13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36734" y="8898915"/>
            <a:ext cx="2987040" cy="511175"/>
          </a:xfrm>
        </p:spPr>
        <p:txBody>
          <a:bodyPr/>
          <a:lstStyle>
            <a:lvl1pPr>
              <a:defRPr sz="1300"/>
            </a:lvl1pPr>
          </a:lstStyle>
          <a:p>
            <a:pPr>
              <a:defRPr/>
            </a:pPr>
            <a:fld id="{52F11DBE-FC88-4D7E-84D2-61CD5E917187}" type="slidenum">
              <a:rPr lang="en-US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90371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9063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0040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06204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2" name="Изображение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29780" y="412035"/>
            <a:ext cx="583579" cy="739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7736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2984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1180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3313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6237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69314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1 (просто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7694296" y="7741367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13" y="8696485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1"/>
          <p:cNvSpPr txBox="1">
            <a:spLocks/>
          </p:cNvSpPr>
          <p:nvPr userDrawn="1"/>
        </p:nvSpPr>
        <p:spPr>
          <a:xfrm>
            <a:off x="1416750" y="8383309"/>
            <a:ext cx="754221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4006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2 (фирменный узор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D:\Инфографика\ВШЭ\00_Презентации и материалы\Материалы для наших презентаций\Материалы для экспериментов-09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95"/>
          <a:stretch/>
        </p:blipFill>
        <p:spPr bwMode="auto">
          <a:xfrm>
            <a:off x="0" y="0"/>
            <a:ext cx="12801600" cy="960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1613980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chemeClr val="bg1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3944937" y="5531359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ctr">
              <a:buNone/>
              <a:defRPr sz="3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13" y="86201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7" name="Picture 3" descr="D:\Инфографика\ВШЭ\00_Презентации и материалы\Материалы для наших презентаций\Логотип\Лого для легкой презентации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4621" y="6400840"/>
            <a:ext cx="2907918" cy="3044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9565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3 (угловые узоры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7"/>
          <p:cNvSpPr/>
          <p:nvPr userDrawn="1"/>
        </p:nvSpPr>
        <p:spPr>
          <a:xfrm>
            <a:off x="4" y="46"/>
            <a:ext cx="12801597" cy="2627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055" tIns="61029" rIns="122055" bIns="61029" rtlCol="0" anchor="ctr"/>
          <a:lstStyle/>
          <a:p>
            <a:pPr algn="ctr"/>
            <a:endParaRPr lang="ru-RU" sz="3100" dirty="0">
              <a:solidFill>
                <a:srgbClr val="FFFFFF"/>
              </a:solidFill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" y="47"/>
            <a:ext cx="3773805" cy="4547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1176" y="5051341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961258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4892373" y="78466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96721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4 (угловые узоры.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172" y="208054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26667" y="5051341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49" y="3459544"/>
            <a:ext cx="969519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6383394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6314509" y="7846651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Footer Placeholder 1"/>
          <p:cNvSpPr txBox="1">
            <a:spLocks/>
          </p:cNvSpPr>
          <p:nvPr userDrawn="1"/>
        </p:nvSpPr>
        <p:spPr>
          <a:xfrm>
            <a:off x="1416750" y="721511"/>
            <a:ext cx="754221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  <p:pic>
        <p:nvPicPr>
          <p:cNvPr id="1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413665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7987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5 (тематическое фот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799573" y="5024302"/>
            <a:ext cx="11180637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2"/>
          </p:nvPr>
        </p:nvSpPr>
        <p:spPr>
          <a:xfrm>
            <a:off x="0" y="202286"/>
            <a:ext cx="12801600" cy="4596131"/>
          </a:xfrm>
          <a:prstGeom prst="rect">
            <a:avLst/>
          </a:prstGeom>
        </p:spPr>
        <p:txBody>
          <a:bodyPr lIns="122055" tIns="61029" rIns="122055" bIns="61029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5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7694296" y="7850801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6" name="Текст 3"/>
          <p:cNvSpPr>
            <a:spLocks noGrp="1"/>
          </p:cNvSpPr>
          <p:nvPr>
            <p:ph type="body" sz="quarter" idx="15"/>
          </p:nvPr>
        </p:nvSpPr>
        <p:spPr>
          <a:xfrm>
            <a:off x="7625413" y="8552555"/>
            <a:ext cx="4980625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2043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336053" y="384502"/>
            <a:ext cx="12252199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23832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новой главы/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584567" y="3392427"/>
            <a:ext cx="11628121" cy="2827020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ctr">
              <a:defRPr sz="5200" b="1">
                <a:solidFill>
                  <a:srgbClr val="1C5C99"/>
                </a:solidFill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5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7964573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890810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2" y="384502"/>
            <a:ext cx="1135075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964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08" y="1813564"/>
            <a:ext cx="12289536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336053" y="384502"/>
            <a:ext cx="12252199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96827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текстов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29" y="1813564"/>
            <a:ext cx="5782057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535" y="384502"/>
            <a:ext cx="11286745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Holder 3"/>
          <p:cNvSpPr>
            <a:spLocks noGrp="1"/>
          </p:cNvSpPr>
          <p:nvPr>
            <p:ph type="body" idx="10" hasCustomPrompt="1"/>
          </p:nvPr>
        </p:nvSpPr>
        <p:spPr>
          <a:xfrm>
            <a:off x="6602460" y="1813564"/>
            <a:ext cx="5964483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0301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Рисунок 8"/>
          <p:cNvSpPr>
            <a:spLocks noGrp="1"/>
          </p:cNvSpPr>
          <p:nvPr>
            <p:ph type="pic" sz="quarter" idx="12"/>
          </p:nvPr>
        </p:nvSpPr>
        <p:spPr>
          <a:xfrm>
            <a:off x="7990353" y="1845579"/>
            <a:ext cx="4587241" cy="7243573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41" y="1813564"/>
            <a:ext cx="7147559" cy="7286244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138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Диаграмма 8"/>
          <p:cNvSpPr>
            <a:spLocks noGrp="1"/>
          </p:cNvSpPr>
          <p:nvPr>
            <p:ph type="chart" sz="quarter" idx="12"/>
          </p:nvPr>
        </p:nvSpPr>
        <p:spPr>
          <a:xfrm>
            <a:off x="7872987" y="1845568"/>
            <a:ext cx="4725924" cy="7008876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>
              <a:buNone/>
              <a:defRPr sz="2500">
                <a:latin typeface="+mj-lt"/>
              </a:defRPr>
            </a:lvl1pPr>
          </a:lstStyle>
          <a:p>
            <a:r>
              <a:rPr lang="ru-RU" dirty="0" smtClean="0"/>
              <a:t>Вставка диаграммы</a:t>
            </a:r>
            <a:endParaRPr lang="ru-RU" dirty="0"/>
          </a:p>
        </p:txBody>
      </p:sp>
      <p:sp>
        <p:nvSpPr>
          <p:cNvPr id="15" name="Holder 3"/>
          <p:cNvSpPr>
            <a:spLocks noGrp="1"/>
          </p:cNvSpPr>
          <p:nvPr>
            <p:ph type="body" idx="13" hasCustomPrompt="1"/>
          </p:nvPr>
        </p:nvSpPr>
        <p:spPr>
          <a:xfrm>
            <a:off x="330736" y="1813560"/>
            <a:ext cx="7190231" cy="7061757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1190732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2102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81214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всем 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6593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51034" y="0"/>
            <a:ext cx="10378929" cy="1665586"/>
          </a:xfrm>
          <a:prstGeom prst="rect">
            <a:avLst/>
          </a:prstGeom>
        </p:spPr>
        <p:txBody>
          <a:bodyPr lIns="122055" tIns="61029" rIns="122055" bIns="61029"/>
          <a:lstStyle>
            <a:lvl1pPr algn="l">
              <a:defRPr sz="45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080" y="2240289"/>
            <a:ext cx="11521440" cy="6336348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buFont typeface="Wingdings" pitchFamily="2" charset="2"/>
              <a:buChar char="v"/>
              <a:defRPr/>
            </a:lvl1pPr>
            <a:lvl2pPr>
              <a:buFont typeface="Wingdings" pitchFamily="2" charset="2"/>
              <a:buChar char="§"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51155" y="8898915"/>
            <a:ext cx="2987040" cy="511175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defRPr sz="1300">
                <a:latin typeface="+mn-lt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3880" y="8898915"/>
            <a:ext cx="4053840" cy="511175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defRPr sz="130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36734" y="8898915"/>
            <a:ext cx="2987040" cy="511175"/>
          </a:xfrm>
        </p:spPr>
        <p:txBody>
          <a:bodyPr/>
          <a:lstStyle>
            <a:lvl1pPr>
              <a:defRPr sz="1300"/>
            </a:lvl1pPr>
          </a:lstStyle>
          <a:p>
            <a:pPr>
              <a:defRPr/>
            </a:pPr>
            <a:fld id="{52F11DBE-FC88-4D7E-84D2-61CD5E917187}" type="slidenum">
              <a:rPr lang="en-US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74622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0667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текстов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older 3"/>
          <p:cNvSpPr>
            <a:spLocks noGrp="1"/>
          </p:cNvSpPr>
          <p:nvPr>
            <p:ph type="body" idx="1" hasCustomPrompt="1"/>
          </p:nvPr>
        </p:nvSpPr>
        <p:spPr>
          <a:xfrm>
            <a:off x="330729" y="1813564"/>
            <a:ext cx="5782057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+mj-lt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69535" y="384502"/>
            <a:ext cx="11286745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Holder 3"/>
          <p:cNvSpPr>
            <a:spLocks noGrp="1"/>
          </p:cNvSpPr>
          <p:nvPr>
            <p:ph type="body" idx="10" hasCustomPrompt="1"/>
          </p:nvPr>
        </p:nvSpPr>
        <p:spPr>
          <a:xfrm>
            <a:off x="6602460" y="1813564"/>
            <a:ext cx="5964483" cy="6923532"/>
          </a:xfrm>
          <a:prstGeom prst="rect">
            <a:avLst/>
          </a:prstGeom>
        </p:spPr>
        <p:txBody>
          <a:bodyPr lIns="0" tIns="0" rIns="0" bIns="0"/>
          <a:lstStyle>
            <a:lvl1pPr>
              <a:defRPr sz="2500">
                <a:latin typeface="+mj-lt"/>
              </a:defRPr>
            </a:lvl1pPr>
            <a:lvl2pPr marL="1074328" indent="-413206">
              <a:buFont typeface="Wingdings" panose="05000000000000000000" pitchFamily="2" charset="2"/>
              <a:buChar char="§"/>
              <a:defRPr sz="2200">
                <a:latin typeface="+mj-lt"/>
              </a:defRPr>
            </a:lvl2pPr>
            <a:lvl3pPr marL="1652809" indent="-330560">
              <a:buFont typeface="Courier New" panose="02070309020205020404" pitchFamily="49" charset="0"/>
              <a:buChar char="o"/>
              <a:defRPr sz="2000"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ru-RU" dirty="0" smtClean="0"/>
              <a:t>Уровень 2</a:t>
            </a:r>
            <a:endParaRPr lang="en-US" dirty="0" smtClean="0"/>
          </a:p>
          <a:p>
            <a:pPr lvl="2"/>
            <a:r>
              <a:rPr lang="ru-RU" dirty="0" smtClean="0"/>
              <a:t>Уровень 3</a:t>
            </a:r>
            <a:endParaRPr lang="en-US" dirty="0" smtClean="0"/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9870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2618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3175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1191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5005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31698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269495" y="384502"/>
            <a:ext cx="10806684" cy="895668"/>
          </a:xfrm>
          <a:prstGeom prst="rect">
            <a:avLst/>
          </a:prstGeom>
        </p:spPr>
        <p:txBody>
          <a:bodyPr lIns="122055" tIns="61029" rIns="122055" bIns="61029" anchor="ctr"/>
          <a:lstStyle>
            <a:lvl1pPr algn="l">
              <a:defRPr sz="3500" b="1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7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08" y="325244"/>
            <a:ext cx="939163" cy="122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5504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1 (просто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39" y="3459544"/>
            <a:ext cx="9695199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7694295" y="7741367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07" y="8696485"/>
            <a:ext cx="4980622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798" y="8477623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ooter Placeholder 1"/>
          <p:cNvSpPr txBox="1">
            <a:spLocks/>
          </p:cNvSpPr>
          <p:nvPr userDrawn="1"/>
        </p:nvSpPr>
        <p:spPr>
          <a:xfrm>
            <a:off x="1416740" y="8785467"/>
            <a:ext cx="754221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</p:spTree>
    <p:extLst>
      <p:ext uri="{BB962C8B-B14F-4D97-AF65-F5344CB8AC3E}">
        <p14:creationId xmlns:p14="http://schemas.microsoft.com/office/powerpoint/2010/main" val="993202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2 (фирменный узор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D:\Инфографика\ВШЭ\00_Презентации и материалы\Материалы для наших презентаций\Материалы для экспериментов-09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3360"/>
            <a:ext cx="12801600" cy="9387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39" y="1613980"/>
            <a:ext cx="9695199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chemeClr val="bg1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3944937" y="5531359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ctr">
              <a:buNone/>
              <a:defRPr sz="35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7625407" y="8620147"/>
            <a:ext cx="4980622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9" name="Picture 3" descr="D:\Инфографика\ВШЭ\00_Презентации и материалы\Материалы для наших презентаций\Логотип\Лого для легкой презентации5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4626" y="6854217"/>
            <a:ext cx="2907918" cy="22830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2649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3 (угловые узоры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7"/>
          <p:cNvSpPr/>
          <p:nvPr userDrawn="1"/>
        </p:nvSpPr>
        <p:spPr>
          <a:xfrm>
            <a:off x="22" y="26"/>
            <a:ext cx="12801599" cy="2627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055" tIns="61029" rIns="122055" bIns="61029" rtlCol="0" anchor="ctr"/>
          <a:lstStyle/>
          <a:p>
            <a:pPr algn="ctr"/>
            <a:endParaRPr lang="ru-RU" sz="3100" dirty="0">
              <a:solidFill>
                <a:srgbClr val="FFFFFF"/>
              </a:solidFill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" y="27"/>
            <a:ext cx="3773805" cy="4547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1145" y="5051324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39" y="3459544"/>
            <a:ext cx="9695199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961256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4892366" y="7846647"/>
            <a:ext cx="4980622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160333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№4 (угловые узоры.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9142" y="208047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26667" y="5051324"/>
            <a:ext cx="3773805" cy="4560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Holder 2"/>
          <p:cNvSpPr>
            <a:spLocks noGrp="1"/>
          </p:cNvSpPr>
          <p:nvPr>
            <p:ph type="title"/>
          </p:nvPr>
        </p:nvSpPr>
        <p:spPr>
          <a:xfrm>
            <a:off x="1553339" y="3459544"/>
            <a:ext cx="9695199" cy="267766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6900" b="1" i="0">
                <a:solidFill>
                  <a:srgbClr val="1C5C99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6383392" y="6891532"/>
            <a:ext cx="4907280" cy="517065"/>
          </a:xfrm>
          <a:prstGeom prst="rect">
            <a:avLst/>
          </a:prstGeom>
        </p:spPr>
        <p:txBody>
          <a:bodyPr lIns="122055" tIns="61029" rIns="122055" bIns="61029"/>
          <a:lstStyle>
            <a:lvl1pPr marL="0" indent="0" algn="r">
              <a:buNone/>
              <a:defRPr sz="3500"/>
            </a:lvl1pPr>
          </a:lstStyle>
          <a:p>
            <a:pPr lvl="0"/>
            <a:r>
              <a:rPr lang="ru-RU" dirty="0" smtClean="0"/>
              <a:t>Иванов И.И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/>
          </p:nvPr>
        </p:nvSpPr>
        <p:spPr>
          <a:xfrm>
            <a:off x="6314503" y="7846647"/>
            <a:ext cx="4980622" cy="517065"/>
          </a:xfrm>
          <a:prstGeom prst="rect">
            <a:avLst/>
          </a:prstGeom>
        </p:spPr>
        <p:txBody>
          <a:bodyPr lIns="122055" tIns="61029" rIns="122055" bIns="61029" anchor="ctr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Footer Placeholder 1"/>
          <p:cNvSpPr txBox="1">
            <a:spLocks/>
          </p:cNvSpPr>
          <p:nvPr userDrawn="1"/>
        </p:nvSpPr>
        <p:spPr>
          <a:xfrm>
            <a:off x="1416740" y="721511"/>
            <a:ext cx="754221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000" b="0" i="0" kern="1200">
                <a:solidFill>
                  <a:schemeClr val="tx1">
                    <a:lumMod val="95000"/>
                    <a:lumOff val="5000"/>
                  </a:schemeClr>
                </a:solidFill>
                <a:latin typeface="Myriad Pro" pitchFamily="34" charset="0"/>
                <a:ea typeface="+mn-ea"/>
                <a:cs typeface="Myriad Pro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62"/>
            <a:r>
              <a:rPr lang="ru-RU" sz="2000" dirty="0">
                <a:solidFill>
                  <a:srgbClr val="000000">
                    <a:lumMod val="95000"/>
                    <a:lumOff val="5000"/>
                  </a:srgbClr>
                </a:solidFill>
                <a:latin typeface="Arial"/>
              </a:rPr>
              <a:t>Институт статистических исследований и экономики знаний</a:t>
            </a:r>
          </a:p>
        </p:txBody>
      </p:sp>
      <p:pic>
        <p:nvPicPr>
          <p:cNvPr id="18" name="Picture 4" descr="D:\Инфографика\ВШЭ\00_Презентации и материалы\Материалы для наших презентаций\Логотип\LOGO-01-01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798" y="413665"/>
            <a:ext cx="939163" cy="9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8540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7.xml"/><Relationship Id="rId13" Type="http://schemas.openxmlformats.org/officeDocument/2006/relationships/slideLayout" Target="../slideLayouts/slideLayout192.xml"/><Relationship Id="rId18" Type="http://schemas.openxmlformats.org/officeDocument/2006/relationships/slideLayout" Target="../slideLayouts/slideLayout197.xml"/><Relationship Id="rId3" Type="http://schemas.openxmlformats.org/officeDocument/2006/relationships/slideLayout" Target="../slideLayouts/slideLayout182.xml"/><Relationship Id="rId21" Type="http://schemas.openxmlformats.org/officeDocument/2006/relationships/slideLayout" Target="../slideLayouts/slideLayout200.xml"/><Relationship Id="rId7" Type="http://schemas.openxmlformats.org/officeDocument/2006/relationships/slideLayout" Target="../slideLayouts/slideLayout186.xml"/><Relationship Id="rId12" Type="http://schemas.openxmlformats.org/officeDocument/2006/relationships/slideLayout" Target="../slideLayouts/slideLayout191.xml"/><Relationship Id="rId17" Type="http://schemas.openxmlformats.org/officeDocument/2006/relationships/slideLayout" Target="../slideLayouts/slideLayout196.xml"/><Relationship Id="rId2" Type="http://schemas.openxmlformats.org/officeDocument/2006/relationships/slideLayout" Target="../slideLayouts/slideLayout181.xml"/><Relationship Id="rId16" Type="http://schemas.openxmlformats.org/officeDocument/2006/relationships/slideLayout" Target="../slideLayouts/slideLayout195.xml"/><Relationship Id="rId20" Type="http://schemas.openxmlformats.org/officeDocument/2006/relationships/slideLayout" Target="../slideLayouts/slideLayout199.xml"/><Relationship Id="rId1" Type="http://schemas.openxmlformats.org/officeDocument/2006/relationships/slideLayout" Target="../slideLayouts/slideLayout180.xml"/><Relationship Id="rId6" Type="http://schemas.openxmlformats.org/officeDocument/2006/relationships/slideLayout" Target="../slideLayouts/slideLayout185.xml"/><Relationship Id="rId11" Type="http://schemas.openxmlformats.org/officeDocument/2006/relationships/slideLayout" Target="../slideLayouts/slideLayout190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184.xml"/><Relationship Id="rId15" Type="http://schemas.openxmlformats.org/officeDocument/2006/relationships/slideLayout" Target="../slideLayouts/slideLayout194.xml"/><Relationship Id="rId23" Type="http://schemas.openxmlformats.org/officeDocument/2006/relationships/theme" Target="../theme/theme10.xml"/><Relationship Id="rId10" Type="http://schemas.openxmlformats.org/officeDocument/2006/relationships/slideLayout" Target="../slideLayouts/slideLayout189.xml"/><Relationship Id="rId19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83.xml"/><Relationship Id="rId9" Type="http://schemas.openxmlformats.org/officeDocument/2006/relationships/slideLayout" Target="../slideLayouts/slideLayout188.xml"/><Relationship Id="rId14" Type="http://schemas.openxmlformats.org/officeDocument/2006/relationships/slideLayout" Target="../slideLayouts/slideLayout193.xml"/><Relationship Id="rId22" Type="http://schemas.openxmlformats.org/officeDocument/2006/relationships/slideLayout" Target="../slideLayouts/slideLayout20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9.xml"/><Relationship Id="rId13" Type="http://schemas.openxmlformats.org/officeDocument/2006/relationships/slideLayout" Target="../slideLayouts/slideLayout214.xml"/><Relationship Id="rId18" Type="http://schemas.openxmlformats.org/officeDocument/2006/relationships/slideLayout" Target="../slideLayouts/slideLayout219.xml"/><Relationship Id="rId3" Type="http://schemas.openxmlformats.org/officeDocument/2006/relationships/slideLayout" Target="../slideLayouts/slideLayout204.xml"/><Relationship Id="rId21" Type="http://schemas.openxmlformats.org/officeDocument/2006/relationships/slideLayout" Target="../slideLayouts/slideLayout222.xml"/><Relationship Id="rId7" Type="http://schemas.openxmlformats.org/officeDocument/2006/relationships/slideLayout" Target="../slideLayouts/slideLayout208.xml"/><Relationship Id="rId12" Type="http://schemas.openxmlformats.org/officeDocument/2006/relationships/slideLayout" Target="../slideLayouts/slideLayout213.xml"/><Relationship Id="rId17" Type="http://schemas.openxmlformats.org/officeDocument/2006/relationships/slideLayout" Target="../slideLayouts/slideLayout218.xml"/><Relationship Id="rId2" Type="http://schemas.openxmlformats.org/officeDocument/2006/relationships/slideLayout" Target="../slideLayouts/slideLayout203.xml"/><Relationship Id="rId16" Type="http://schemas.openxmlformats.org/officeDocument/2006/relationships/slideLayout" Target="../slideLayouts/slideLayout217.xml"/><Relationship Id="rId20" Type="http://schemas.openxmlformats.org/officeDocument/2006/relationships/slideLayout" Target="../slideLayouts/slideLayout221.xml"/><Relationship Id="rId1" Type="http://schemas.openxmlformats.org/officeDocument/2006/relationships/slideLayout" Target="../slideLayouts/slideLayout202.xml"/><Relationship Id="rId6" Type="http://schemas.openxmlformats.org/officeDocument/2006/relationships/slideLayout" Target="../slideLayouts/slideLayout207.xml"/><Relationship Id="rId11" Type="http://schemas.openxmlformats.org/officeDocument/2006/relationships/slideLayout" Target="../slideLayouts/slideLayout212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206.xml"/><Relationship Id="rId15" Type="http://schemas.openxmlformats.org/officeDocument/2006/relationships/slideLayout" Target="../slideLayouts/slideLayout216.xml"/><Relationship Id="rId23" Type="http://schemas.openxmlformats.org/officeDocument/2006/relationships/theme" Target="../theme/theme11.xml"/><Relationship Id="rId10" Type="http://schemas.openxmlformats.org/officeDocument/2006/relationships/slideLayout" Target="../slideLayouts/slideLayout211.xml"/><Relationship Id="rId19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205.xml"/><Relationship Id="rId9" Type="http://schemas.openxmlformats.org/officeDocument/2006/relationships/slideLayout" Target="../slideLayouts/slideLayout210.xml"/><Relationship Id="rId14" Type="http://schemas.openxmlformats.org/officeDocument/2006/relationships/slideLayout" Target="../slideLayouts/slideLayout215.xml"/><Relationship Id="rId22" Type="http://schemas.openxmlformats.org/officeDocument/2006/relationships/slideLayout" Target="../slideLayouts/slideLayout22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1.xml"/><Relationship Id="rId13" Type="http://schemas.openxmlformats.org/officeDocument/2006/relationships/slideLayout" Target="../slideLayouts/slideLayout236.xml"/><Relationship Id="rId18" Type="http://schemas.openxmlformats.org/officeDocument/2006/relationships/slideLayout" Target="../slideLayouts/slideLayout241.xml"/><Relationship Id="rId3" Type="http://schemas.openxmlformats.org/officeDocument/2006/relationships/slideLayout" Target="../slideLayouts/slideLayout226.xml"/><Relationship Id="rId21" Type="http://schemas.openxmlformats.org/officeDocument/2006/relationships/slideLayout" Target="../slideLayouts/slideLayout244.xml"/><Relationship Id="rId7" Type="http://schemas.openxmlformats.org/officeDocument/2006/relationships/slideLayout" Target="../slideLayouts/slideLayout230.xml"/><Relationship Id="rId12" Type="http://schemas.openxmlformats.org/officeDocument/2006/relationships/slideLayout" Target="../slideLayouts/slideLayout235.xml"/><Relationship Id="rId17" Type="http://schemas.openxmlformats.org/officeDocument/2006/relationships/slideLayout" Target="../slideLayouts/slideLayout240.xml"/><Relationship Id="rId2" Type="http://schemas.openxmlformats.org/officeDocument/2006/relationships/slideLayout" Target="../slideLayouts/slideLayout225.xml"/><Relationship Id="rId16" Type="http://schemas.openxmlformats.org/officeDocument/2006/relationships/slideLayout" Target="../slideLayouts/slideLayout239.xml"/><Relationship Id="rId20" Type="http://schemas.openxmlformats.org/officeDocument/2006/relationships/slideLayout" Target="../slideLayouts/slideLayout243.xml"/><Relationship Id="rId1" Type="http://schemas.openxmlformats.org/officeDocument/2006/relationships/slideLayout" Target="../slideLayouts/slideLayout224.xml"/><Relationship Id="rId6" Type="http://schemas.openxmlformats.org/officeDocument/2006/relationships/slideLayout" Target="../slideLayouts/slideLayout229.xml"/><Relationship Id="rId11" Type="http://schemas.openxmlformats.org/officeDocument/2006/relationships/slideLayout" Target="../slideLayouts/slideLayout234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228.xml"/><Relationship Id="rId15" Type="http://schemas.openxmlformats.org/officeDocument/2006/relationships/slideLayout" Target="../slideLayouts/slideLayout238.xml"/><Relationship Id="rId23" Type="http://schemas.openxmlformats.org/officeDocument/2006/relationships/theme" Target="../theme/theme12.xml"/><Relationship Id="rId10" Type="http://schemas.openxmlformats.org/officeDocument/2006/relationships/slideLayout" Target="../slideLayouts/slideLayout233.xml"/><Relationship Id="rId19" Type="http://schemas.openxmlformats.org/officeDocument/2006/relationships/slideLayout" Target="../slideLayouts/slideLayout242.xml"/><Relationship Id="rId4" Type="http://schemas.openxmlformats.org/officeDocument/2006/relationships/slideLayout" Target="../slideLayouts/slideLayout227.xml"/><Relationship Id="rId9" Type="http://schemas.openxmlformats.org/officeDocument/2006/relationships/slideLayout" Target="../slideLayouts/slideLayout232.xml"/><Relationship Id="rId14" Type="http://schemas.openxmlformats.org/officeDocument/2006/relationships/slideLayout" Target="../slideLayouts/slideLayout237.xml"/><Relationship Id="rId22" Type="http://schemas.openxmlformats.org/officeDocument/2006/relationships/slideLayout" Target="../slideLayouts/slideLayout24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3.xml"/><Relationship Id="rId13" Type="http://schemas.openxmlformats.org/officeDocument/2006/relationships/slideLayout" Target="../slideLayouts/slideLayout258.xml"/><Relationship Id="rId18" Type="http://schemas.openxmlformats.org/officeDocument/2006/relationships/slideLayout" Target="../slideLayouts/slideLayout263.xml"/><Relationship Id="rId3" Type="http://schemas.openxmlformats.org/officeDocument/2006/relationships/slideLayout" Target="../slideLayouts/slideLayout248.xml"/><Relationship Id="rId21" Type="http://schemas.openxmlformats.org/officeDocument/2006/relationships/slideLayout" Target="../slideLayouts/slideLayout266.xml"/><Relationship Id="rId7" Type="http://schemas.openxmlformats.org/officeDocument/2006/relationships/slideLayout" Target="../slideLayouts/slideLayout252.xml"/><Relationship Id="rId12" Type="http://schemas.openxmlformats.org/officeDocument/2006/relationships/slideLayout" Target="../slideLayouts/slideLayout257.xml"/><Relationship Id="rId17" Type="http://schemas.openxmlformats.org/officeDocument/2006/relationships/slideLayout" Target="../slideLayouts/slideLayout262.xml"/><Relationship Id="rId2" Type="http://schemas.openxmlformats.org/officeDocument/2006/relationships/slideLayout" Target="../slideLayouts/slideLayout247.xml"/><Relationship Id="rId16" Type="http://schemas.openxmlformats.org/officeDocument/2006/relationships/slideLayout" Target="../slideLayouts/slideLayout261.xml"/><Relationship Id="rId20" Type="http://schemas.openxmlformats.org/officeDocument/2006/relationships/slideLayout" Target="../slideLayouts/slideLayout265.xml"/><Relationship Id="rId1" Type="http://schemas.openxmlformats.org/officeDocument/2006/relationships/slideLayout" Target="../slideLayouts/slideLayout246.xml"/><Relationship Id="rId6" Type="http://schemas.openxmlformats.org/officeDocument/2006/relationships/slideLayout" Target="../slideLayouts/slideLayout251.xml"/><Relationship Id="rId11" Type="http://schemas.openxmlformats.org/officeDocument/2006/relationships/slideLayout" Target="../slideLayouts/slideLayout256.xml"/><Relationship Id="rId5" Type="http://schemas.openxmlformats.org/officeDocument/2006/relationships/slideLayout" Target="../slideLayouts/slideLayout250.xml"/><Relationship Id="rId15" Type="http://schemas.openxmlformats.org/officeDocument/2006/relationships/slideLayout" Target="../slideLayouts/slideLayout260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255.xml"/><Relationship Id="rId19" Type="http://schemas.openxmlformats.org/officeDocument/2006/relationships/slideLayout" Target="../slideLayouts/slideLayout264.xml"/><Relationship Id="rId4" Type="http://schemas.openxmlformats.org/officeDocument/2006/relationships/slideLayout" Target="../slideLayouts/slideLayout249.xml"/><Relationship Id="rId9" Type="http://schemas.openxmlformats.org/officeDocument/2006/relationships/slideLayout" Target="../slideLayouts/slideLayout254.xml"/><Relationship Id="rId14" Type="http://schemas.openxmlformats.org/officeDocument/2006/relationships/slideLayout" Target="../slideLayouts/slideLayout259.xml"/><Relationship Id="rId22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4.xml"/><Relationship Id="rId13" Type="http://schemas.openxmlformats.org/officeDocument/2006/relationships/slideLayout" Target="../slideLayouts/slideLayout279.xml"/><Relationship Id="rId18" Type="http://schemas.openxmlformats.org/officeDocument/2006/relationships/slideLayout" Target="../slideLayouts/slideLayout284.xml"/><Relationship Id="rId3" Type="http://schemas.openxmlformats.org/officeDocument/2006/relationships/slideLayout" Target="../slideLayouts/slideLayout269.xml"/><Relationship Id="rId21" Type="http://schemas.openxmlformats.org/officeDocument/2006/relationships/slideLayout" Target="../slideLayouts/slideLayout287.xml"/><Relationship Id="rId7" Type="http://schemas.openxmlformats.org/officeDocument/2006/relationships/slideLayout" Target="../slideLayouts/slideLayout273.xml"/><Relationship Id="rId12" Type="http://schemas.openxmlformats.org/officeDocument/2006/relationships/slideLayout" Target="../slideLayouts/slideLayout278.xml"/><Relationship Id="rId17" Type="http://schemas.openxmlformats.org/officeDocument/2006/relationships/slideLayout" Target="../slideLayouts/slideLayout283.xml"/><Relationship Id="rId2" Type="http://schemas.openxmlformats.org/officeDocument/2006/relationships/slideLayout" Target="../slideLayouts/slideLayout268.xml"/><Relationship Id="rId16" Type="http://schemas.openxmlformats.org/officeDocument/2006/relationships/slideLayout" Target="../slideLayouts/slideLayout282.xml"/><Relationship Id="rId20" Type="http://schemas.openxmlformats.org/officeDocument/2006/relationships/slideLayout" Target="../slideLayouts/slideLayout286.xml"/><Relationship Id="rId1" Type="http://schemas.openxmlformats.org/officeDocument/2006/relationships/slideLayout" Target="../slideLayouts/slideLayout267.xml"/><Relationship Id="rId6" Type="http://schemas.openxmlformats.org/officeDocument/2006/relationships/slideLayout" Target="../slideLayouts/slideLayout272.xml"/><Relationship Id="rId11" Type="http://schemas.openxmlformats.org/officeDocument/2006/relationships/slideLayout" Target="../slideLayouts/slideLayout277.xml"/><Relationship Id="rId5" Type="http://schemas.openxmlformats.org/officeDocument/2006/relationships/slideLayout" Target="../slideLayouts/slideLayout271.xml"/><Relationship Id="rId15" Type="http://schemas.openxmlformats.org/officeDocument/2006/relationships/slideLayout" Target="../slideLayouts/slideLayout281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276.xml"/><Relationship Id="rId19" Type="http://schemas.openxmlformats.org/officeDocument/2006/relationships/slideLayout" Target="../slideLayouts/slideLayout285.xml"/><Relationship Id="rId4" Type="http://schemas.openxmlformats.org/officeDocument/2006/relationships/slideLayout" Target="../slideLayouts/slideLayout270.xml"/><Relationship Id="rId9" Type="http://schemas.openxmlformats.org/officeDocument/2006/relationships/slideLayout" Target="../slideLayouts/slideLayout275.xml"/><Relationship Id="rId14" Type="http://schemas.openxmlformats.org/officeDocument/2006/relationships/slideLayout" Target="../slideLayouts/slideLayout280.xml"/><Relationship Id="rId22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5.xml"/><Relationship Id="rId13" Type="http://schemas.openxmlformats.org/officeDocument/2006/relationships/slideLayout" Target="../slideLayouts/slideLayout300.xml"/><Relationship Id="rId18" Type="http://schemas.openxmlformats.org/officeDocument/2006/relationships/slideLayout" Target="../slideLayouts/slideLayout305.xml"/><Relationship Id="rId3" Type="http://schemas.openxmlformats.org/officeDocument/2006/relationships/slideLayout" Target="../slideLayouts/slideLayout290.xml"/><Relationship Id="rId21" Type="http://schemas.openxmlformats.org/officeDocument/2006/relationships/slideLayout" Target="../slideLayouts/slideLayout308.xml"/><Relationship Id="rId7" Type="http://schemas.openxmlformats.org/officeDocument/2006/relationships/slideLayout" Target="../slideLayouts/slideLayout294.xml"/><Relationship Id="rId12" Type="http://schemas.openxmlformats.org/officeDocument/2006/relationships/slideLayout" Target="../slideLayouts/slideLayout299.xml"/><Relationship Id="rId17" Type="http://schemas.openxmlformats.org/officeDocument/2006/relationships/slideLayout" Target="../slideLayouts/slideLayout304.xml"/><Relationship Id="rId2" Type="http://schemas.openxmlformats.org/officeDocument/2006/relationships/slideLayout" Target="../slideLayouts/slideLayout289.xml"/><Relationship Id="rId16" Type="http://schemas.openxmlformats.org/officeDocument/2006/relationships/slideLayout" Target="../slideLayouts/slideLayout303.xml"/><Relationship Id="rId20" Type="http://schemas.openxmlformats.org/officeDocument/2006/relationships/slideLayout" Target="../slideLayouts/slideLayout307.xml"/><Relationship Id="rId1" Type="http://schemas.openxmlformats.org/officeDocument/2006/relationships/slideLayout" Target="../slideLayouts/slideLayout288.xml"/><Relationship Id="rId6" Type="http://schemas.openxmlformats.org/officeDocument/2006/relationships/slideLayout" Target="../slideLayouts/slideLayout293.xml"/><Relationship Id="rId11" Type="http://schemas.openxmlformats.org/officeDocument/2006/relationships/slideLayout" Target="../slideLayouts/slideLayout298.xml"/><Relationship Id="rId5" Type="http://schemas.openxmlformats.org/officeDocument/2006/relationships/slideLayout" Target="../slideLayouts/slideLayout292.xml"/><Relationship Id="rId15" Type="http://schemas.openxmlformats.org/officeDocument/2006/relationships/slideLayout" Target="../slideLayouts/slideLayout302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297.xml"/><Relationship Id="rId19" Type="http://schemas.openxmlformats.org/officeDocument/2006/relationships/slideLayout" Target="../slideLayouts/slideLayout306.xml"/><Relationship Id="rId4" Type="http://schemas.openxmlformats.org/officeDocument/2006/relationships/slideLayout" Target="../slideLayouts/slideLayout291.xml"/><Relationship Id="rId9" Type="http://schemas.openxmlformats.org/officeDocument/2006/relationships/slideLayout" Target="../slideLayouts/slideLayout296.xml"/><Relationship Id="rId14" Type="http://schemas.openxmlformats.org/officeDocument/2006/relationships/slideLayout" Target="../slideLayouts/slideLayout301.xml"/><Relationship Id="rId22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6.xml"/><Relationship Id="rId13" Type="http://schemas.openxmlformats.org/officeDocument/2006/relationships/slideLayout" Target="../slideLayouts/slideLayout321.xml"/><Relationship Id="rId18" Type="http://schemas.openxmlformats.org/officeDocument/2006/relationships/slideLayout" Target="../slideLayouts/slideLayout326.xml"/><Relationship Id="rId3" Type="http://schemas.openxmlformats.org/officeDocument/2006/relationships/slideLayout" Target="../slideLayouts/slideLayout311.xml"/><Relationship Id="rId21" Type="http://schemas.openxmlformats.org/officeDocument/2006/relationships/theme" Target="../theme/theme16.xml"/><Relationship Id="rId7" Type="http://schemas.openxmlformats.org/officeDocument/2006/relationships/slideLayout" Target="../slideLayouts/slideLayout315.xml"/><Relationship Id="rId12" Type="http://schemas.openxmlformats.org/officeDocument/2006/relationships/slideLayout" Target="../slideLayouts/slideLayout320.xml"/><Relationship Id="rId17" Type="http://schemas.openxmlformats.org/officeDocument/2006/relationships/slideLayout" Target="../slideLayouts/slideLayout325.xml"/><Relationship Id="rId2" Type="http://schemas.openxmlformats.org/officeDocument/2006/relationships/slideLayout" Target="../slideLayouts/slideLayout310.xml"/><Relationship Id="rId16" Type="http://schemas.openxmlformats.org/officeDocument/2006/relationships/slideLayout" Target="../slideLayouts/slideLayout324.xml"/><Relationship Id="rId20" Type="http://schemas.openxmlformats.org/officeDocument/2006/relationships/slideLayout" Target="../slideLayouts/slideLayout328.xml"/><Relationship Id="rId1" Type="http://schemas.openxmlformats.org/officeDocument/2006/relationships/slideLayout" Target="../slideLayouts/slideLayout309.xml"/><Relationship Id="rId6" Type="http://schemas.openxmlformats.org/officeDocument/2006/relationships/slideLayout" Target="../slideLayouts/slideLayout314.xml"/><Relationship Id="rId11" Type="http://schemas.openxmlformats.org/officeDocument/2006/relationships/slideLayout" Target="../slideLayouts/slideLayout319.xml"/><Relationship Id="rId5" Type="http://schemas.openxmlformats.org/officeDocument/2006/relationships/slideLayout" Target="../slideLayouts/slideLayout313.xml"/><Relationship Id="rId15" Type="http://schemas.openxmlformats.org/officeDocument/2006/relationships/slideLayout" Target="../slideLayouts/slideLayout323.xml"/><Relationship Id="rId10" Type="http://schemas.openxmlformats.org/officeDocument/2006/relationships/slideLayout" Target="../slideLayouts/slideLayout318.xml"/><Relationship Id="rId19" Type="http://schemas.openxmlformats.org/officeDocument/2006/relationships/slideLayout" Target="../slideLayouts/slideLayout327.xml"/><Relationship Id="rId4" Type="http://schemas.openxmlformats.org/officeDocument/2006/relationships/slideLayout" Target="../slideLayouts/slideLayout312.xml"/><Relationship Id="rId9" Type="http://schemas.openxmlformats.org/officeDocument/2006/relationships/slideLayout" Target="../slideLayouts/slideLayout317.xml"/><Relationship Id="rId14" Type="http://schemas.openxmlformats.org/officeDocument/2006/relationships/slideLayout" Target="../slideLayouts/slideLayout322.xml"/><Relationship Id="rId22" Type="http://schemas.openxmlformats.org/officeDocument/2006/relationships/image" Target="../media/image1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6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31.xml"/><Relationship Id="rId7" Type="http://schemas.openxmlformats.org/officeDocument/2006/relationships/slideLayout" Target="../slideLayouts/slideLayout335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330.xml"/><Relationship Id="rId1" Type="http://schemas.openxmlformats.org/officeDocument/2006/relationships/slideLayout" Target="../slideLayouts/slideLayout329.xml"/><Relationship Id="rId6" Type="http://schemas.openxmlformats.org/officeDocument/2006/relationships/slideLayout" Target="../slideLayouts/slideLayout334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333.xml"/><Relationship Id="rId15" Type="http://schemas.openxmlformats.org/officeDocument/2006/relationships/image" Target="../media/image12.emf"/><Relationship Id="rId10" Type="http://schemas.openxmlformats.org/officeDocument/2006/relationships/theme" Target="../theme/theme17.xml"/><Relationship Id="rId4" Type="http://schemas.openxmlformats.org/officeDocument/2006/relationships/slideLayout" Target="../slideLayouts/slideLayout332.xml"/><Relationship Id="rId9" Type="http://schemas.openxmlformats.org/officeDocument/2006/relationships/slideLayout" Target="../slideLayouts/slideLayout337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image" Target="../media/image9.png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9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3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74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3" Type="http://schemas.openxmlformats.org/officeDocument/2006/relationships/slideLayout" Target="../slideLayouts/slideLayout77.xml"/><Relationship Id="rId21" Type="http://schemas.openxmlformats.org/officeDocument/2006/relationships/slideLayout" Target="../slideLayouts/slideLayout95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slideLayout" Target="../slideLayouts/slideLayout108.xml"/><Relationship Id="rId18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98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07.xml"/><Relationship Id="rId17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97.xml"/><Relationship Id="rId16" Type="http://schemas.openxmlformats.org/officeDocument/2006/relationships/slideLayout" Target="../slideLayouts/slideLayout111.xml"/><Relationship Id="rId20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0.xml"/><Relationship Id="rId15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105.xml"/><Relationship Id="rId19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slideLayout" Target="../slideLayouts/slideLayout109.xml"/><Relationship Id="rId22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18.xml"/><Relationship Id="rId21" Type="http://schemas.openxmlformats.org/officeDocument/2006/relationships/slideLayout" Target="../slideLayouts/slideLayout136.xml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0" Type="http://schemas.openxmlformats.org/officeDocument/2006/relationships/slideLayout" Target="../slideLayouts/slideLayout135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23" Type="http://schemas.openxmlformats.org/officeDocument/2006/relationships/theme" Target="../theme/theme7.xml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Relationship Id="rId22" Type="http://schemas.openxmlformats.org/officeDocument/2006/relationships/slideLayout" Target="../slideLayouts/slideLayout13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slideLayout" Target="../slideLayouts/slideLayout150.xml"/><Relationship Id="rId18" Type="http://schemas.openxmlformats.org/officeDocument/2006/relationships/slideLayout" Target="../slideLayouts/slideLayout155.xml"/><Relationship Id="rId3" Type="http://schemas.openxmlformats.org/officeDocument/2006/relationships/slideLayout" Target="../slideLayouts/slideLayout140.xml"/><Relationship Id="rId21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17" Type="http://schemas.openxmlformats.org/officeDocument/2006/relationships/slideLayout" Target="../slideLayouts/slideLayout154.xml"/><Relationship Id="rId2" Type="http://schemas.openxmlformats.org/officeDocument/2006/relationships/slideLayout" Target="../slideLayouts/slideLayout139.xml"/><Relationship Id="rId16" Type="http://schemas.openxmlformats.org/officeDocument/2006/relationships/slideLayout" Target="../slideLayouts/slideLayout153.xml"/><Relationship Id="rId20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5" Type="http://schemas.openxmlformats.org/officeDocument/2006/relationships/slideLayout" Target="../slideLayouts/slideLayout152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47.xml"/><Relationship Id="rId19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slideLayout" Target="../slideLayouts/slideLayout151.xml"/><Relationship Id="rId22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13" Type="http://schemas.openxmlformats.org/officeDocument/2006/relationships/slideLayout" Target="../slideLayouts/slideLayout171.xml"/><Relationship Id="rId18" Type="http://schemas.openxmlformats.org/officeDocument/2006/relationships/slideLayout" Target="../slideLayouts/slideLayout176.xml"/><Relationship Id="rId3" Type="http://schemas.openxmlformats.org/officeDocument/2006/relationships/slideLayout" Target="../slideLayouts/slideLayout161.xml"/><Relationship Id="rId21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70.xml"/><Relationship Id="rId17" Type="http://schemas.openxmlformats.org/officeDocument/2006/relationships/slideLayout" Target="../slideLayouts/slideLayout175.xml"/><Relationship Id="rId2" Type="http://schemas.openxmlformats.org/officeDocument/2006/relationships/slideLayout" Target="../slideLayouts/slideLayout160.xml"/><Relationship Id="rId16" Type="http://schemas.openxmlformats.org/officeDocument/2006/relationships/slideLayout" Target="../slideLayouts/slideLayout174.xml"/><Relationship Id="rId20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5" Type="http://schemas.openxmlformats.org/officeDocument/2006/relationships/slideLayout" Target="../slideLayouts/slideLayout163.xml"/><Relationship Id="rId15" Type="http://schemas.openxmlformats.org/officeDocument/2006/relationships/slideLayout" Target="../slideLayouts/slideLayout173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68.xml"/><Relationship Id="rId19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Relationship Id="rId14" Type="http://schemas.openxmlformats.org/officeDocument/2006/relationships/slideLayout" Target="../slideLayouts/slideLayout172.xml"/><Relationship Id="rId22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 txBox="1">
            <a:spLocks/>
          </p:cNvSpPr>
          <p:nvPr userDrawn="1"/>
        </p:nvSpPr>
        <p:spPr>
          <a:xfrm>
            <a:off x="640080" y="384502"/>
            <a:ext cx="11521440" cy="895668"/>
          </a:xfrm>
          <a:prstGeom prst="rect">
            <a:avLst/>
          </a:prstGeom>
        </p:spPr>
        <p:txBody>
          <a:bodyPr lIns="122055" tIns="61029" rIns="122055" bIns="61029"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Myriad Pro" pitchFamily="34" charset="0"/>
                <a:ea typeface="+mj-ea"/>
                <a:cs typeface="+mj-cs"/>
              </a:defRPr>
            </a:lvl1pPr>
          </a:lstStyle>
          <a:p>
            <a:endParaRPr lang="ru-RU" sz="3500" dirty="0"/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 lIns="122055" tIns="61029" rIns="122055" bIns="61029"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/>
              <a:pPr marL="36732"/>
              <a:t>‹#›</a:t>
            </a:fld>
            <a:endParaRPr lang="ru-RU" dirty="0"/>
          </a:p>
        </p:txBody>
      </p:sp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1"/>
            <a:ext cx="12801600" cy="21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50382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8" r:id="rId2"/>
    <p:sldLayoutId id="2147483726" r:id="rId3"/>
    <p:sldLayoutId id="2147483727" r:id="rId4"/>
    <p:sldLayoutId id="2147483725" r:id="rId5"/>
    <p:sldLayoutId id="2147483714" r:id="rId6"/>
    <p:sldLayoutId id="2147483696" r:id="rId7"/>
    <p:sldLayoutId id="2147483743" r:id="rId8"/>
    <p:sldLayoutId id="2147483729" r:id="rId9"/>
    <p:sldLayoutId id="2147483703" r:id="rId10"/>
    <p:sldLayoutId id="2147483705" r:id="rId11"/>
    <p:sldLayoutId id="2147483723" r:id="rId12"/>
    <p:sldLayoutId id="2147483724" r:id="rId13"/>
    <p:sldLayoutId id="2147484022" r:id="rId14"/>
    <p:sldLayoutId id="2147484129" r:id="rId15"/>
    <p:sldLayoutId id="2147484130" r:id="rId16"/>
    <p:sldLayoutId id="2147484131" r:id="rId17"/>
    <p:sldLayoutId id="2147484133" r:id="rId18"/>
    <p:sldLayoutId id="2147484135" r:id="rId19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1322247" rtl="0" eaLnBrk="1" latinLnBrk="0" hangingPunct="1">
        <a:spcBef>
          <a:spcPct val="0"/>
        </a:spcBef>
        <a:buNone/>
        <a:defRPr sz="6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5841" indent="-495841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74328" indent="-413206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4100" kern="1200">
          <a:solidFill>
            <a:schemeClr val="tx1"/>
          </a:solidFill>
          <a:latin typeface="+mn-lt"/>
          <a:ea typeface="+mn-ea"/>
          <a:cs typeface="+mn-cs"/>
        </a:defRPr>
      </a:lvl2pPr>
      <a:lvl3pPr marL="1652809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3pPr>
      <a:lvl4pPr marL="2313935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75056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»"/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3618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297308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495843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619551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6112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322247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83373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644494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30562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96674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627865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288991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 txBox="1">
            <a:spLocks/>
          </p:cNvSpPr>
          <p:nvPr userDrawn="1"/>
        </p:nvSpPr>
        <p:spPr>
          <a:xfrm>
            <a:off x="640080" y="384502"/>
            <a:ext cx="11521440" cy="895668"/>
          </a:xfrm>
          <a:prstGeom prst="rect">
            <a:avLst/>
          </a:prstGeom>
        </p:spPr>
        <p:txBody>
          <a:bodyPr lIns="122055" tIns="61029" rIns="122055" bIns="61029"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Myriad Pro" pitchFamily="34" charset="0"/>
                <a:ea typeface="+mj-ea"/>
                <a:cs typeface="+mj-cs"/>
              </a:defRPr>
            </a:lvl1pPr>
          </a:lstStyle>
          <a:p>
            <a:endParaRPr lang="ru-RU" sz="3500" dirty="0">
              <a:solidFill>
                <a:srgbClr val="000000"/>
              </a:solidFill>
            </a:endParaRPr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 lIns="122055" tIns="61029" rIns="122055" bIns="61029"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1"/>
            <a:ext cx="12801600" cy="21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5356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888" r:id="rId13"/>
    <p:sldLayoutId id="2147483889" r:id="rId14"/>
    <p:sldLayoutId id="2147483890" r:id="rId15"/>
    <p:sldLayoutId id="2147484080" r:id="rId16"/>
    <p:sldLayoutId id="2147484081" r:id="rId17"/>
    <p:sldLayoutId id="2147484082" r:id="rId18"/>
    <p:sldLayoutId id="2147484083" r:id="rId19"/>
    <p:sldLayoutId id="2147484084" r:id="rId20"/>
    <p:sldLayoutId id="2147484085" r:id="rId21"/>
    <p:sldLayoutId id="2147484086" r:id="rId2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1322247" rtl="0" eaLnBrk="1" latinLnBrk="0" hangingPunct="1">
        <a:spcBef>
          <a:spcPct val="0"/>
        </a:spcBef>
        <a:buNone/>
        <a:defRPr sz="6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5841" indent="-495841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74328" indent="-413206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4100" kern="1200">
          <a:solidFill>
            <a:schemeClr val="tx1"/>
          </a:solidFill>
          <a:latin typeface="+mn-lt"/>
          <a:ea typeface="+mn-ea"/>
          <a:cs typeface="+mn-cs"/>
        </a:defRPr>
      </a:lvl2pPr>
      <a:lvl3pPr marL="1652809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3pPr>
      <a:lvl4pPr marL="2313935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75056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»"/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3618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297308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495843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619551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6112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322247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83373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644494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30562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96674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627865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288991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 txBox="1">
            <a:spLocks/>
          </p:cNvSpPr>
          <p:nvPr userDrawn="1"/>
        </p:nvSpPr>
        <p:spPr>
          <a:xfrm>
            <a:off x="640080" y="384502"/>
            <a:ext cx="11521440" cy="895668"/>
          </a:xfrm>
          <a:prstGeom prst="rect">
            <a:avLst/>
          </a:prstGeom>
        </p:spPr>
        <p:txBody>
          <a:bodyPr lIns="122055" tIns="61029" rIns="122055" bIns="61029"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Myriad Pro" pitchFamily="34" charset="0"/>
                <a:ea typeface="+mj-ea"/>
                <a:cs typeface="+mj-cs"/>
              </a:defRPr>
            </a:lvl1pPr>
          </a:lstStyle>
          <a:p>
            <a:endParaRPr lang="ru-RU" sz="3500" dirty="0">
              <a:solidFill>
                <a:srgbClr val="000000"/>
              </a:solidFill>
            </a:endParaRPr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 lIns="122055" tIns="61029" rIns="122055" bIns="61029"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1"/>
            <a:ext cx="12801600" cy="21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66658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5" r:id="rId4"/>
    <p:sldLayoutId id="2147483896" r:id="rId5"/>
    <p:sldLayoutId id="2147483897" r:id="rId6"/>
    <p:sldLayoutId id="2147483898" r:id="rId7"/>
    <p:sldLayoutId id="2147483899" r:id="rId8"/>
    <p:sldLayoutId id="2147483900" r:id="rId9"/>
    <p:sldLayoutId id="2147483901" r:id="rId10"/>
    <p:sldLayoutId id="2147483902" r:id="rId11"/>
    <p:sldLayoutId id="2147483903" r:id="rId12"/>
    <p:sldLayoutId id="2147483904" r:id="rId13"/>
    <p:sldLayoutId id="2147483905" r:id="rId14"/>
    <p:sldLayoutId id="2147483906" r:id="rId15"/>
    <p:sldLayoutId id="2147484087" r:id="rId16"/>
    <p:sldLayoutId id="2147484088" r:id="rId17"/>
    <p:sldLayoutId id="2147484089" r:id="rId18"/>
    <p:sldLayoutId id="2147484090" r:id="rId19"/>
    <p:sldLayoutId id="2147484091" r:id="rId20"/>
    <p:sldLayoutId id="2147484092" r:id="rId21"/>
    <p:sldLayoutId id="2147484093" r:id="rId2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1322247" rtl="0" eaLnBrk="1" latinLnBrk="0" hangingPunct="1">
        <a:spcBef>
          <a:spcPct val="0"/>
        </a:spcBef>
        <a:buNone/>
        <a:defRPr sz="6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5841" indent="-495841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74328" indent="-413206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4100" kern="1200">
          <a:solidFill>
            <a:schemeClr val="tx1"/>
          </a:solidFill>
          <a:latin typeface="+mn-lt"/>
          <a:ea typeface="+mn-ea"/>
          <a:cs typeface="+mn-cs"/>
        </a:defRPr>
      </a:lvl2pPr>
      <a:lvl3pPr marL="1652809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3pPr>
      <a:lvl4pPr marL="2313935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75056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»"/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3618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297308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495843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619551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6112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322247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83373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644494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30562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96674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627865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288991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 txBox="1">
            <a:spLocks/>
          </p:cNvSpPr>
          <p:nvPr userDrawn="1"/>
        </p:nvSpPr>
        <p:spPr>
          <a:xfrm>
            <a:off x="640080" y="384502"/>
            <a:ext cx="11521440" cy="895668"/>
          </a:xfrm>
          <a:prstGeom prst="rect">
            <a:avLst/>
          </a:prstGeom>
        </p:spPr>
        <p:txBody>
          <a:bodyPr lIns="122055" tIns="61029" rIns="122055" bIns="61029"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Myriad Pro" pitchFamily="34" charset="0"/>
                <a:ea typeface="+mj-ea"/>
                <a:cs typeface="+mj-cs"/>
              </a:defRPr>
            </a:lvl1pPr>
          </a:lstStyle>
          <a:p>
            <a:endParaRPr lang="ru-RU" sz="3500" dirty="0">
              <a:solidFill>
                <a:srgbClr val="000000"/>
              </a:solidFill>
            </a:endParaRPr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 lIns="122055" tIns="61029" rIns="122055" bIns="61029"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1"/>
            <a:ext cx="12801600" cy="21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33611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919" r:id="rId12"/>
    <p:sldLayoutId id="2147483920" r:id="rId13"/>
    <p:sldLayoutId id="2147483921" r:id="rId14"/>
    <p:sldLayoutId id="2147483922" r:id="rId15"/>
    <p:sldLayoutId id="2147484094" r:id="rId16"/>
    <p:sldLayoutId id="2147484095" r:id="rId17"/>
    <p:sldLayoutId id="2147484096" r:id="rId18"/>
    <p:sldLayoutId id="2147484097" r:id="rId19"/>
    <p:sldLayoutId id="2147484098" r:id="rId20"/>
    <p:sldLayoutId id="2147484099" r:id="rId21"/>
    <p:sldLayoutId id="2147484100" r:id="rId2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1322247" rtl="0" eaLnBrk="1" latinLnBrk="0" hangingPunct="1">
        <a:spcBef>
          <a:spcPct val="0"/>
        </a:spcBef>
        <a:buNone/>
        <a:defRPr sz="6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5841" indent="-495841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74328" indent="-413206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4100" kern="1200">
          <a:solidFill>
            <a:schemeClr val="tx1"/>
          </a:solidFill>
          <a:latin typeface="+mn-lt"/>
          <a:ea typeface="+mn-ea"/>
          <a:cs typeface="+mn-cs"/>
        </a:defRPr>
      </a:lvl2pPr>
      <a:lvl3pPr marL="1652809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3pPr>
      <a:lvl4pPr marL="2313935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75056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»"/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3618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297308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495843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619551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6112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322247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83373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644494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30562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96674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627865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288991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 txBox="1">
            <a:spLocks/>
          </p:cNvSpPr>
          <p:nvPr userDrawn="1"/>
        </p:nvSpPr>
        <p:spPr>
          <a:xfrm>
            <a:off x="640080" y="384502"/>
            <a:ext cx="11521440" cy="895668"/>
          </a:xfrm>
          <a:prstGeom prst="rect">
            <a:avLst/>
          </a:prstGeom>
        </p:spPr>
        <p:txBody>
          <a:bodyPr lIns="122055" tIns="61029" rIns="122055" bIns="61029"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Myriad Pro" pitchFamily="34" charset="0"/>
                <a:ea typeface="+mj-ea"/>
                <a:cs typeface="+mj-cs"/>
              </a:defRPr>
            </a:lvl1pPr>
          </a:lstStyle>
          <a:p>
            <a:endParaRPr lang="ru-RU" sz="3500" dirty="0">
              <a:solidFill>
                <a:srgbClr val="000000"/>
              </a:solidFill>
            </a:endParaRPr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 lIns="122055" tIns="61029" rIns="122055" bIns="61029"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1"/>
            <a:ext cx="12801600" cy="21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3653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  <p:sldLayoutId id="2147483929" r:id="rId6"/>
    <p:sldLayoutId id="2147483930" r:id="rId7"/>
    <p:sldLayoutId id="2147483931" r:id="rId8"/>
    <p:sldLayoutId id="2147483932" r:id="rId9"/>
    <p:sldLayoutId id="2147483933" r:id="rId10"/>
    <p:sldLayoutId id="2147483934" r:id="rId11"/>
    <p:sldLayoutId id="2147483935" r:id="rId12"/>
    <p:sldLayoutId id="2147483936" r:id="rId13"/>
    <p:sldLayoutId id="2147483937" r:id="rId14"/>
    <p:sldLayoutId id="2147484101" r:id="rId15"/>
    <p:sldLayoutId id="2147484102" r:id="rId16"/>
    <p:sldLayoutId id="2147484103" r:id="rId17"/>
    <p:sldLayoutId id="2147484104" r:id="rId18"/>
    <p:sldLayoutId id="2147484105" r:id="rId19"/>
    <p:sldLayoutId id="2147484106" r:id="rId20"/>
    <p:sldLayoutId id="2147484107" r:id="rId2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1322247" rtl="0" eaLnBrk="1" latinLnBrk="0" hangingPunct="1">
        <a:spcBef>
          <a:spcPct val="0"/>
        </a:spcBef>
        <a:buNone/>
        <a:defRPr sz="6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5841" indent="-495841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74328" indent="-413206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4100" kern="1200">
          <a:solidFill>
            <a:schemeClr val="tx1"/>
          </a:solidFill>
          <a:latin typeface="+mn-lt"/>
          <a:ea typeface="+mn-ea"/>
          <a:cs typeface="+mn-cs"/>
        </a:defRPr>
      </a:lvl2pPr>
      <a:lvl3pPr marL="1652809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3pPr>
      <a:lvl4pPr marL="2313935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75056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»"/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3618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297308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495843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619551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6112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322247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83373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644494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30562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96674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627865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288991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 txBox="1">
            <a:spLocks/>
          </p:cNvSpPr>
          <p:nvPr userDrawn="1"/>
        </p:nvSpPr>
        <p:spPr>
          <a:xfrm>
            <a:off x="640080" y="384502"/>
            <a:ext cx="11521440" cy="895668"/>
          </a:xfrm>
          <a:prstGeom prst="rect">
            <a:avLst/>
          </a:prstGeom>
        </p:spPr>
        <p:txBody>
          <a:bodyPr lIns="122055" tIns="61029" rIns="122055" bIns="61029"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Myriad Pro" pitchFamily="34" charset="0"/>
                <a:ea typeface="+mj-ea"/>
                <a:cs typeface="+mj-cs"/>
              </a:defRPr>
            </a:lvl1pPr>
          </a:lstStyle>
          <a:p>
            <a:endParaRPr lang="ru-RU" sz="3500" dirty="0">
              <a:solidFill>
                <a:srgbClr val="000000"/>
              </a:solidFill>
            </a:endParaRPr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 lIns="122055" tIns="61029" rIns="122055" bIns="61029"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1"/>
            <a:ext cx="12801600" cy="21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10953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  <p:sldLayoutId id="2147483943" r:id="rId5"/>
    <p:sldLayoutId id="2147483944" r:id="rId6"/>
    <p:sldLayoutId id="2147483945" r:id="rId7"/>
    <p:sldLayoutId id="2147483946" r:id="rId8"/>
    <p:sldLayoutId id="2147483947" r:id="rId9"/>
    <p:sldLayoutId id="2147483948" r:id="rId10"/>
    <p:sldLayoutId id="2147483949" r:id="rId11"/>
    <p:sldLayoutId id="2147483950" r:id="rId12"/>
    <p:sldLayoutId id="2147483951" r:id="rId13"/>
    <p:sldLayoutId id="2147483952" r:id="rId14"/>
    <p:sldLayoutId id="2147484108" r:id="rId15"/>
    <p:sldLayoutId id="2147484109" r:id="rId16"/>
    <p:sldLayoutId id="2147484110" r:id="rId17"/>
    <p:sldLayoutId id="2147484111" r:id="rId18"/>
    <p:sldLayoutId id="2147484112" r:id="rId19"/>
    <p:sldLayoutId id="2147484113" r:id="rId20"/>
    <p:sldLayoutId id="2147484114" r:id="rId2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1322247" rtl="0" eaLnBrk="1" latinLnBrk="0" hangingPunct="1">
        <a:spcBef>
          <a:spcPct val="0"/>
        </a:spcBef>
        <a:buNone/>
        <a:defRPr sz="6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5841" indent="-495841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74328" indent="-413206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4100" kern="1200">
          <a:solidFill>
            <a:schemeClr val="tx1"/>
          </a:solidFill>
          <a:latin typeface="+mn-lt"/>
          <a:ea typeface="+mn-ea"/>
          <a:cs typeface="+mn-cs"/>
        </a:defRPr>
      </a:lvl2pPr>
      <a:lvl3pPr marL="1652809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3pPr>
      <a:lvl4pPr marL="2313935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75056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»"/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3618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297308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495843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619551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6112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322247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83373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644494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30562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96674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627865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288991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 txBox="1">
            <a:spLocks/>
          </p:cNvSpPr>
          <p:nvPr userDrawn="1"/>
        </p:nvSpPr>
        <p:spPr>
          <a:xfrm>
            <a:off x="640080" y="384502"/>
            <a:ext cx="11521440" cy="895668"/>
          </a:xfrm>
          <a:prstGeom prst="rect">
            <a:avLst/>
          </a:prstGeom>
        </p:spPr>
        <p:txBody>
          <a:bodyPr lIns="122055" tIns="61029" rIns="122055" bIns="61029"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Myriad Pro" pitchFamily="34" charset="0"/>
                <a:ea typeface="+mj-ea"/>
                <a:cs typeface="+mj-cs"/>
              </a:defRPr>
            </a:lvl1pPr>
          </a:lstStyle>
          <a:p>
            <a:endParaRPr lang="ru-RU" sz="3500" dirty="0">
              <a:solidFill>
                <a:srgbClr val="000000"/>
              </a:solidFill>
            </a:endParaRPr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 lIns="122055" tIns="61029" rIns="122055" bIns="61029"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1"/>
            <a:ext cx="12801600" cy="21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0137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55" r:id="rId2"/>
    <p:sldLayoutId id="2147483956" r:id="rId3"/>
    <p:sldLayoutId id="2147483957" r:id="rId4"/>
    <p:sldLayoutId id="2147483958" r:id="rId5"/>
    <p:sldLayoutId id="2147483959" r:id="rId6"/>
    <p:sldLayoutId id="2147483960" r:id="rId7"/>
    <p:sldLayoutId id="2147483961" r:id="rId8"/>
    <p:sldLayoutId id="2147483962" r:id="rId9"/>
    <p:sldLayoutId id="2147483963" r:id="rId10"/>
    <p:sldLayoutId id="2147483964" r:id="rId11"/>
    <p:sldLayoutId id="2147483965" r:id="rId12"/>
    <p:sldLayoutId id="2147483966" r:id="rId13"/>
    <p:sldLayoutId id="2147483967" r:id="rId14"/>
    <p:sldLayoutId id="2147484115" r:id="rId15"/>
    <p:sldLayoutId id="2147484116" r:id="rId16"/>
    <p:sldLayoutId id="2147484117" r:id="rId17"/>
    <p:sldLayoutId id="2147484118" r:id="rId18"/>
    <p:sldLayoutId id="2147484119" r:id="rId19"/>
    <p:sldLayoutId id="2147484120" r:id="rId20"/>
    <p:sldLayoutId id="2147484121" r:id="rId2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1322247" rtl="0" eaLnBrk="1" latinLnBrk="0" hangingPunct="1">
        <a:spcBef>
          <a:spcPct val="0"/>
        </a:spcBef>
        <a:buNone/>
        <a:defRPr sz="6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5841" indent="-495841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74328" indent="-413206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4100" kern="1200">
          <a:solidFill>
            <a:schemeClr val="tx1"/>
          </a:solidFill>
          <a:latin typeface="+mn-lt"/>
          <a:ea typeface="+mn-ea"/>
          <a:cs typeface="+mn-cs"/>
        </a:defRPr>
      </a:lvl2pPr>
      <a:lvl3pPr marL="1652809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3pPr>
      <a:lvl4pPr marL="2313935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75056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»"/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3618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297308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495843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619551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6112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322247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83373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644494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30562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96674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627865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288991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 txBox="1">
            <a:spLocks/>
          </p:cNvSpPr>
          <p:nvPr userDrawn="1"/>
        </p:nvSpPr>
        <p:spPr>
          <a:xfrm>
            <a:off x="640080" y="384502"/>
            <a:ext cx="11521440" cy="895668"/>
          </a:xfrm>
          <a:prstGeom prst="rect">
            <a:avLst/>
          </a:prstGeom>
        </p:spPr>
        <p:txBody>
          <a:bodyPr lIns="122055" tIns="61029" rIns="122055" bIns="61029"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Myriad Pro" pitchFamily="34" charset="0"/>
                <a:ea typeface="+mj-ea"/>
                <a:cs typeface="+mj-cs"/>
              </a:defRPr>
            </a:lvl1pPr>
          </a:lstStyle>
          <a:p>
            <a:endParaRPr lang="ru-RU" sz="2500" dirty="0">
              <a:solidFill>
                <a:srgbClr val="000000"/>
              </a:solidFill>
            </a:endParaRPr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 lIns="122055" tIns="61029" rIns="122055" bIns="61029"/>
          <a:lstStyle>
            <a:lvl1pPr algn="r">
              <a:defRPr sz="1100">
                <a:latin typeface="Myriad Pro" pitchFamily="34" charset="0"/>
                <a:cs typeface="Myriad Arabic" pitchFamily="50" charset="-78"/>
              </a:defRPr>
            </a:lvl1pPr>
          </a:lstStyle>
          <a:p>
            <a:pPr marL="27549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27549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801600" cy="21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88173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9" r:id="rId1"/>
    <p:sldLayoutId id="2147483970" r:id="rId2"/>
    <p:sldLayoutId id="2147483971" r:id="rId3"/>
    <p:sldLayoutId id="2147483972" r:id="rId4"/>
    <p:sldLayoutId id="2147483973" r:id="rId5"/>
    <p:sldLayoutId id="2147483974" r:id="rId6"/>
    <p:sldLayoutId id="2147483975" r:id="rId7"/>
    <p:sldLayoutId id="2147483976" r:id="rId8"/>
    <p:sldLayoutId id="2147483977" r:id="rId9"/>
    <p:sldLayoutId id="2147483978" r:id="rId10"/>
    <p:sldLayoutId id="2147483979" r:id="rId11"/>
    <p:sldLayoutId id="2147483980" r:id="rId12"/>
    <p:sldLayoutId id="2147483981" r:id="rId13"/>
    <p:sldLayoutId id="2147484122" r:id="rId14"/>
    <p:sldLayoutId id="2147484123" r:id="rId15"/>
    <p:sldLayoutId id="2147484124" r:id="rId16"/>
    <p:sldLayoutId id="2147484125" r:id="rId17"/>
    <p:sldLayoutId id="2147484126" r:id="rId18"/>
    <p:sldLayoutId id="2147484127" r:id="rId19"/>
    <p:sldLayoutId id="2147484128" r:id="rId20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991687" rtl="0" eaLnBrk="1" latinLnBrk="0" hangingPunct="1">
        <a:spcBef>
          <a:spcPct val="0"/>
        </a:spcBef>
        <a:buNone/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71883" indent="-371883" algn="l" defTabSz="991687" rtl="0" eaLnBrk="1" latinLnBrk="0" hangingPunct="1">
        <a:spcBef>
          <a:spcPct val="2000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1pPr>
      <a:lvl2pPr marL="805748" indent="-309901" algn="l" defTabSz="991687" rtl="0" eaLnBrk="1" latinLnBrk="0" hangingPunct="1">
        <a:spcBef>
          <a:spcPct val="20000"/>
        </a:spcBef>
        <a:buFont typeface="Arial" panose="020B0604020202020204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239610" indent="-247922" algn="l" defTabSz="991687" rtl="0" eaLnBrk="1" latinLnBrk="0" hangingPunct="1">
        <a:spcBef>
          <a:spcPct val="200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735450" indent="-247922" algn="l" defTabSz="991687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231293" indent="-247922" algn="l" defTabSz="991687" rtl="0" eaLnBrk="1" latinLnBrk="0" hangingPunct="1">
        <a:spcBef>
          <a:spcPct val="20000"/>
        </a:spcBef>
        <a:buFont typeface="Arial" panose="020B0604020202020204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7136" indent="-247922" algn="l" defTabSz="991687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22976" indent="-247922" algn="l" defTabSz="991687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18823" indent="-247922" algn="l" defTabSz="991687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14666" indent="-247922" algn="l" defTabSz="991687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9168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5841" algn="l" defTabSz="99168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1687" algn="l" defTabSz="99168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87531" algn="l" defTabSz="99168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83373" algn="l" defTabSz="99168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79214" algn="l" defTabSz="99168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5056" algn="l" defTabSz="99168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70901" algn="l" defTabSz="99168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6746" algn="l" defTabSz="99168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425720388"/>
              </p:ext>
            </p:extLst>
          </p:nvPr>
        </p:nvGraphicFramePr>
        <p:xfrm>
          <a:off x="2224" y="2224"/>
          <a:ext cx="2222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5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4" y="2224"/>
                        <a:ext cx="2222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McK 2. Slide Title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504000" y="373581"/>
            <a:ext cx="11793600" cy="448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lvl="0" defTabSz="640080" hangingPunct="0">
              <a:lnSpc>
                <a:spcPts val="3500"/>
              </a:lnSpc>
            </a:pPr>
            <a:r>
              <a:rPr lang="ru-RU" altLang="zh-CN" dirty="0" smtClean="0"/>
              <a:t>Образец заголовка</a:t>
            </a:r>
            <a:endParaRPr lang="en-US" altLang="zh-CN" dirty="0" smtClean="0"/>
          </a:p>
        </p:txBody>
      </p:sp>
      <p:sp>
        <p:nvSpPr>
          <p:cNvPr id="6" name="Shape 233"/>
          <p:cNvSpPr>
            <a:spLocks noChangeArrowheads="1"/>
          </p:cNvSpPr>
          <p:nvPr userDrawn="1"/>
        </p:nvSpPr>
        <p:spPr bwMode="auto">
          <a:xfrm>
            <a:off x="12255754" y="9254504"/>
            <a:ext cx="403200" cy="192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eaLnBrk="1">
              <a:lnSpc>
                <a:spcPts val="1470"/>
              </a:lnSpc>
            </a:pPr>
            <a:fld id="{9341A735-39CE-4E30-A45B-8F69B017A70B}" type="slidenum">
              <a:rPr lang="ru-RU" altLang="ru-RU" sz="1300" b="1">
                <a:solidFill>
                  <a:srgbClr val="8FC54C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eaLnBrk="1">
                <a:lnSpc>
                  <a:spcPts val="1470"/>
                </a:lnSpc>
              </a:pPr>
              <a:t>‹#›</a:t>
            </a:fld>
            <a:r>
              <a:rPr lang="ru-RU" altLang="ru-RU" sz="1300" b="1" dirty="0">
                <a:solidFill>
                  <a:srgbClr val="8FC54C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￼</a:t>
            </a:r>
          </a:p>
        </p:txBody>
      </p:sp>
    </p:spTree>
    <p:extLst>
      <p:ext uri="{BB962C8B-B14F-4D97-AF65-F5344CB8AC3E}">
        <p14:creationId xmlns:p14="http://schemas.microsoft.com/office/powerpoint/2010/main" val="2228464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5" r:id="rId1"/>
    <p:sldLayoutId id="2147484146" r:id="rId2"/>
    <p:sldLayoutId id="2147484147" r:id="rId3"/>
    <p:sldLayoutId id="2147484137" r:id="rId4"/>
    <p:sldLayoutId id="2147484138" r:id="rId5"/>
    <p:sldLayoutId id="2147484139" r:id="rId6"/>
    <p:sldLayoutId id="2147484141" r:id="rId7"/>
    <p:sldLayoutId id="2147484142" r:id="rId8"/>
    <p:sldLayoutId id="2147484143" r:id="rId9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28016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Tahoma" panose="020B0604030504040204" pitchFamily="34" charset="0"/>
        </a:defRPr>
      </a:lvl1pPr>
    </p:titleStyle>
    <p:bodyStyle>
      <a:lvl1pPr marL="480060" indent="-48006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40130" indent="-400050" algn="l" defTabSz="1280160" rtl="0" eaLnBrk="1" latinLnBrk="0" hangingPunct="1">
        <a:spcBef>
          <a:spcPct val="20000"/>
        </a:spcBef>
        <a:buFont typeface="Arial" panose="020B0604020202020204" pitchFamily="34" charset="0"/>
        <a:buChar char="–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 txBox="1">
            <a:spLocks/>
          </p:cNvSpPr>
          <p:nvPr userDrawn="1"/>
        </p:nvSpPr>
        <p:spPr>
          <a:xfrm>
            <a:off x="640080" y="384502"/>
            <a:ext cx="11521440" cy="895668"/>
          </a:xfrm>
          <a:prstGeom prst="rect">
            <a:avLst/>
          </a:prstGeom>
        </p:spPr>
        <p:txBody>
          <a:bodyPr lIns="122055" tIns="61029" rIns="122055" bIns="61029"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Myriad Pro" pitchFamily="34" charset="0"/>
                <a:ea typeface="+mj-ea"/>
                <a:cs typeface="+mj-cs"/>
              </a:defRPr>
            </a:lvl1pPr>
          </a:lstStyle>
          <a:p>
            <a:endParaRPr lang="ru-RU" sz="2500" dirty="0">
              <a:solidFill>
                <a:prstClr val="black"/>
              </a:solidFill>
            </a:endParaRPr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1948160" y="9252712"/>
            <a:ext cx="533400" cy="270256"/>
          </a:xfrm>
          <a:prstGeom prst="rect">
            <a:avLst/>
          </a:prstGeom>
        </p:spPr>
        <p:txBody>
          <a:bodyPr lIns="122055" tIns="61029" rIns="122055" bIns="61029"/>
          <a:lstStyle>
            <a:lvl1pPr>
              <a:defRPr sz="1100">
                <a:latin typeface="Myriad Pro" pitchFamily="34" charset="0"/>
                <a:cs typeface="Myriad Arabic" pitchFamily="50" charset="-78"/>
              </a:defRPr>
            </a:lvl1pPr>
          </a:lstStyle>
          <a:p>
            <a:pPr marL="27549"/>
            <a:fld id="{81D60167-4931-47E6-BA6A-407CBD079E47}" type="slidenum">
              <a:rPr lang="ru-RU" smtClean="0">
                <a:solidFill>
                  <a:prstClr val="black"/>
                </a:solidFill>
                <a:ea typeface="ＭＳ Ｐゴシック" pitchFamily="34" charset="-128"/>
              </a:rPr>
              <a:pPr marL="27549"/>
              <a:t>‹#›</a:t>
            </a:fld>
            <a:endParaRPr lang="ru-RU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  <p:pic>
        <p:nvPicPr>
          <p:cNvPr id="2050" name="Picture 2" descr="D:\Инфографика\ВШЭ\00_Презентации и материалы\Логотип\Logo_presi-01 - копия.png"/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164" y="337284"/>
            <a:ext cx="881838" cy="918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801600" cy="21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01051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4023" r:id="rId11"/>
    <p:sldLayoutId id="2147484024" r:id="rId12"/>
    <p:sldLayoutId id="2147484025" r:id="rId13"/>
    <p:sldLayoutId id="2147484026" r:id="rId14"/>
    <p:sldLayoutId id="2147484027" r:id="rId15"/>
    <p:sldLayoutId id="2147484028" r:id="rId16"/>
    <p:sldLayoutId id="2147484029" r:id="rId17"/>
    <p:sldLayoutId id="2147484030" r:id="rId18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991687" rtl="0" eaLnBrk="1" latinLnBrk="0" hangingPunct="1">
        <a:spcBef>
          <a:spcPct val="0"/>
        </a:spcBef>
        <a:buNone/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71883" indent="-371883" algn="l" defTabSz="991687" rtl="0" eaLnBrk="1" latinLnBrk="0" hangingPunct="1">
        <a:spcBef>
          <a:spcPct val="2000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1pPr>
      <a:lvl2pPr marL="805748" indent="-309901" algn="l" defTabSz="991687" rtl="0" eaLnBrk="1" latinLnBrk="0" hangingPunct="1">
        <a:spcBef>
          <a:spcPct val="20000"/>
        </a:spcBef>
        <a:buFont typeface="Arial" panose="020B0604020202020204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239610" indent="-247922" algn="l" defTabSz="991687" rtl="0" eaLnBrk="1" latinLnBrk="0" hangingPunct="1">
        <a:spcBef>
          <a:spcPct val="200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735450" indent="-247922" algn="l" defTabSz="991687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231293" indent="-247922" algn="l" defTabSz="991687" rtl="0" eaLnBrk="1" latinLnBrk="0" hangingPunct="1">
        <a:spcBef>
          <a:spcPct val="20000"/>
        </a:spcBef>
        <a:buFont typeface="Arial" panose="020B0604020202020204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7136" indent="-247922" algn="l" defTabSz="991687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22976" indent="-247922" algn="l" defTabSz="991687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18823" indent="-247922" algn="l" defTabSz="991687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14666" indent="-247922" algn="l" defTabSz="991687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9168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5841" algn="l" defTabSz="99168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1687" algn="l" defTabSz="99168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87531" algn="l" defTabSz="99168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83373" algn="l" defTabSz="99168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79214" algn="l" defTabSz="99168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5056" algn="l" defTabSz="99168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70901" algn="l" defTabSz="99168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6746" algn="l" defTabSz="99168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 txBox="1">
            <a:spLocks/>
          </p:cNvSpPr>
          <p:nvPr userDrawn="1"/>
        </p:nvSpPr>
        <p:spPr>
          <a:xfrm>
            <a:off x="640080" y="384502"/>
            <a:ext cx="11521440" cy="895668"/>
          </a:xfrm>
          <a:prstGeom prst="rect">
            <a:avLst/>
          </a:prstGeom>
        </p:spPr>
        <p:txBody>
          <a:bodyPr lIns="122055" tIns="61029" rIns="122055" bIns="61029"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Myriad Pro" pitchFamily="34" charset="0"/>
                <a:ea typeface="+mj-ea"/>
                <a:cs typeface="+mj-cs"/>
              </a:defRPr>
            </a:lvl1pPr>
          </a:lstStyle>
          <a:p>
            <a:endParaRPr lang="ru-RU" sz="3500" dirty="0">
              <a:solidFill>
                <a:srgbClr val="000000"/>
              </a:solidFill>
            </a:endParaRPr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 lIns="122055" tIns="61029" rIns="122055" bIns="61029"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801600" cy="21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3658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4031" r:id="rId14"/>
    <p:sldLayoutId id="2147484034" r:id="rId15"/>
    <p:sldLayoutId id="2147484036" r:id="rId1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1322247" rtl="0" eaLnBrk="1" latinLnBrk="0" hangingPunct="1">
        <a:spcBef>
          <a:spcPct val="0"/>
        </a:spcBef>
        <a:buNone/>
        <a:defRPr sz="6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5841" indent="-495841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74328" indent="-413206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4100" kern="1200">
          <a:solidFill>
            <a:schemeClr val="tx1"/>
          </a:solidFill>
          <a:latin typeface="+mn-lt"/>
          <a:ea typeface="+mn-ea"/>
          <a:cs typeface="+mn-cs"/>
        </a:defRPr>
      </a:lvl2pPr>
      <a:lvl3pPr marL="1652809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3pPr>
      <a:lvl4pPr marL="2313935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75056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»"/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3618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297308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495843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619551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6112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322247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83373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644494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30562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96674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627865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288991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 txBox="1">
            <a:spLocks/>
          </p:cNvSpPr>
          <p:nvPr userDrawn="1"/>
        </p:nvSpPr>
        <p:spPr>
          <a:xfrm>
            <a:off x="640080" y="384502"/>
            <a:ext cx="11521440" cy="895668"/>
          </a:xfrm>
          <a:prstGeom prst="rect">
            <a:avLst/>
          </a:prstGeom>
        </p:spPr>
        <p:txBody>
          <a:bodyPr lIns="122055" tIns="61029" rIns="122055" bIns="61029"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Myriad Pro" pitchFamily="34" charset="0"/>
                <a:ea typeface="+mj-ea"/>
                <a:cs typeface="+mj-cs"/>
              </a:defRPr>
            </a:lvl1pPr>
          </a:lstStyle>
          <a:p>
            <a:endParaRPr lang="ru-RU" sz="3500" dirty="0">
              <a:solidFill>
                <a:srgbClr val="000000"/>
              </a:solidFill>
            </a:endParaRPr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 lIns="122055" tIns="61029" rIns="122055" bIns="61029"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1"/>
            <a:ext cx="12801600" cy="21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8363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4038" r:id="rId15"/>
    <p:sldLayoutId id="2147484039" r:id="rId16"/>
    <p:sldLayoutId id="2147484040" r:id="rId17"/>
    <p:sldLayoutId id="2147484041" r:id="rId18"/>
    <p:sldLayoutId id="2147484042" r:id="rId19"/>
    <p:sldLayoutId id="2147484043" r:id="rId20"/>
    <p:sldLayoutId id="2147484044" r:id="rId2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1322247" rtl="0" eaLnBrk="1" latinLnBrk="0" hangingPunct="1">
        <a:spcBef>
          <a:spcPct val="0"/>
        </a:spcBef>
        <a:buNone/>
        <a:defRPr sz="6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5841" indent="-495841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74328" indent="-413206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4100" kern="1200">
          <a:solidFill>
            <a:schemeClr val="tx1"/>
          </a:solidFill>
          <a:latin typeface="+mn-lt"/>
          <a:ea typeface="+mn-ea"/>
          <a:cs typeface="+mn-cs"/>
        </a:defRPr>
      </a:lvl2pPr>
      <a:lvl3pPr marL="1652809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3pPr>
      <a:lvl4pPr marL="2313935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75056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»"/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3618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297308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495843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619551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6112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322247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83373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644494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30562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96674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627865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288991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 txBox="1">
            <a:spLocks/>
          </p:cNvSpPr>
          <p:nvPr userDrawn="1"/>
        </p:nvSpPr>
        <p:spPr>
          <a:xfrm>
            <a:off x="640080" y="384502"/>
            <a:ext cx="11521440" cy="895668"/>
          </a:xfrm>
          <a:prstGeom prst="rect">
            <a:avLst/>
          </a:prstGeom>
        </p:spPr>
        <p:txBody>
          <a:bodyPr lIns="122055" tIns="61029" rIns="122055" bIns="61029"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Myriad Pro" pitchFamily="34" charset="0"/>
                <a:ea typeface="+mj-ea"/>
                <a:cs typeface="+mj-cs"/>
              </a:defRPr>
            </a:lvl1pPr>
          </a:lstStyle>
          <a:p>
            <a:endParaRPr lang="ru-RU" sz="3500" dirty="0">
              <a:solidFill>
                <a:srgbClr val="000000"/>
              </a:solidFill>
            </a:endParaRPr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87" y="9199373"/>
            <a:ext cx="533401" cy="270256"/>
          </a:xfrm>
          <a:prstGeom prst="rect">
            <a:avLst/>
          </a:prstGeom>
        </p:spPr>
        <p:txBody>
          <a:bodyPr lIns="122055" tIns="61029" rIns="122055" bIns="61029"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1"/>
            <a:ext cx="12801600" cy="21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88227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4045" r:id="rId15"/>
    <p:sldLayoutId id="2147484046" r:id="rId16"/>
    <p:sldLayoutId id="2147484047" r:id="rId17"/>
    <p:sldLayoutId id="2147484048" r:id="rId18"/>
    <p:sldLayoutId id="2147484049" r:id="rId19"/>
    <p:sldLayoutId id="2147484050" r:id="rId20"/>
    <p:sldLayoutId id="2147484051" r:id="rId2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1322247" rtl="0" eaLnBrk="1" latinLnBrk="0" hangingPunct="1">
        <a:spcBef>
          <a:spcPct val="0"/>
        </a:spcBef>
        <a:buNone/>
        <a:defRPr sz="6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5841" indent="-495841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74328" indent="-413206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4100" kern="1200">
          <a:solidFill>
            <a:schemeClr val="tx1"/>
          </a:solidFill>
          <a:latin typeface="+mn-lt"/>
          <a:ea typeface="+mn-ea"/>
          <a:cs typeface="+mn-cs"/>
        </a:defRPr>
      </a:lvl2pPr>
      <a:lvl3pPr marL="1652809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3pPr>
      <a:lvl4pPr marL="2313935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75056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»"/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3618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297308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495843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619551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6112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322247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83373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644494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30562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96674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627865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288991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 txBox="1">
            <a:spLocks/>
          </p:cNvSpPr>
          <p:nvPr userDrawn="1"/>
        </p:nvSpPr>
        <p:spPr>
          <a:xfrm>
            <a:off x="640080" y="384502"/>
            <a:ext cx="11521440" cy="895668"/>
          </a:xfrm>
          <a:prstGeom prst="rect">
            <a:avLst/>
          </a:prstGeom>
        </p:spPr>
        <p:txBody>
          <a:bodyPr lIns="122055" tIns="61029" rIns="122055" bIns="61029"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Myriad Pro" pitchFamily="34" charset="0"/>
                <a:ea typeface="+mj-ea"/>
                <a:cs typeface="+mj-cs"/>
              </a:defRPr>
            </a:lvl1pPr>
          </a:lstStyle>
          <a:p>
            <a:endParaRPr lang="ru-RU" sz="3500" dirty="0">
              <a:solidFill>
                <a:srgbClr val="000000"/>
              </a:solidFill>
            </a:endParaRPr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40" y="9199372"/>
            <a:ext cx="533400" cy="270256"/>
          </a:xfrm>
          <a:prstGeom prst="rect">
            <a:avLst/>
          </a:prstGeom>
        </p:spPr>
        <p:txBody>
          <a:bodyPr lIns="122055" tIns="61029" rIns="122055" bIns="61029"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2801600" cy="21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56125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2" r:id="rId7"/>
    <p:sldLayoutId id="2147483823" r:id="rId8"/>
    <p:sldLayoutId id="2147483824" r:id="rId9"/>
    <p:sldLayoutId id="2147483825" r:id="rId10"/>
    <p:sldLayoutId id="2147483826" r:id="rId11"/>
    <p:sldLayoutId id="2147483827" r:id="rId12"/>
    <p:sldLayoutId id="2147483828" r:id="rId13"/>
    <p:sldLayoutId id="2147484052" r:id="rId14"/>
    <p:sldLayoutId id="2147484053" r:id="rId15"/>
    <p:sldLayoutId id="2147484054" r:id="rId16"/>
    <p:sldLayoutId id="2147484055" r:id="rId17"/>
    <p:sldLayoutId id="2147484056" r:id="rId18"/>
    <p:sldLayoutId id="2147484057" r:id="rId19"/>
    <p:sldLayoutId id="2147484058" r:id="rId20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1322247" rtl="0" eaLnBrk="1" latinLnBrk="0" hangingPunct="1">
        <a:spcBef>
          <a:spcPct val="0"/>
        </a:spcBef>
        <a:buNone/>
        <a:defRPr sz="6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5841" indent="-495841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74328" indent="-413206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4100" kern="1200">
          <a:solidFill>
            <a:schemeClr val="tx1"/>
          </a:solidFill>
          <a:latin typeface="+mn-lt"/>
          <a:ea typeface="+mn-ea"/>
          <a:cs typeface="+mn-cs"/>
        </a:defRPr>
      </a:lvl2pPr>
      <a:lvl3pPr marL="1652809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3pPr>
      <a:lvl4pPr marL="2313935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75056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»"/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3618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297308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495843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619551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6112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322247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83373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644494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30562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96674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627865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288991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 txBox="1">
            <a:spLocks/>
          </p:cNvSpPr>
          <p:nvPr userDrawn="1"/>
        </p:nvSpPr>
        <p:spPr>
          <a:xfrm>
            <a:off x="640080" y="384502"/>
            <a:ext cx="11521440" cy="895668"/>
          </a:xfrm>
          <a:prstGeom prst="rect">
            <a:avLst/>
          </a:prstGeom>
        </p:spPr>
        <p:txBody>
          <a:bodyPr lIns="122055" tIns="61029" rIns="122055" bIns="61029"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Myriad Pro" pitchFamily="34" charset="0"/>
                <a:ea typeface="+mj-ea"/>
                <a:cs typeface="+mj-cs"/>
              </a:defRPr>
            </a:lvl1pPr>
          </a:lstStyle>
          <a:p>
            <a:endParaRPr lang="ru-RU" sz="3500" dirty="0">
              <a:solidFill>
                <a:srgbClr val="000000"/>
              </a:solidFill>
            </a:endParaRPr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 lIns="122055" tIns="61029" rIns="122055" bIns="61029"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1"/>
            <a:ext cx="12801600" cy="21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9132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  <p:sldLayoutId id="2147483842" r:id="rId13"/>
    <p:sldLayoutId id="2147483843" r:id="rId14"/>
    <p:sldLayoutId id="2147483844" r:id="rId15"/>
    <p:sldLayoutId id="2147484059" r:id="rId16"/>
    <p:sldLayoutId id="2147484060" r:id="rId17"/>
    <p:sldLayoutId id="2147484061" r:id="rId18"/>
    <p:sldLayoutId id="2147484062" r:id="rId19"/>
    <p:sldLayoutId id="2147484063" r:id="rId20"/>
    <p:sldLayoutId id="2147484064" r:id="rId21"/>
    <p:sldLayoutId id="2147484065" r:id="rId2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1322247" rtl="0" eaLnBrk="1" latinLnBrk="0" hangingPunct="1">
        <a:spcBef>
          <a:spcPct val="0"/>
        </a:spcBef>
        <a:buNone/>
        <a:defRPr sz="6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5841" indent="-495841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74328" indent="-413206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4100" kern="1200">
          <a:solidFill>
            <a:schemeClr val="tx1"/>
          </a:solidFill>
          <a:latin typeface="+mn-lt"/>
          <a:ea typeface="+mn-ea"/>
          <a:cs typeface="+mn-cs"/>
        </a:defRPr>
      </a:lvl2pPr>
      <a:lvl3pPr marL="1652809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3pPr>
      <a:lvl4pPr marL="2313935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75056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»"/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3618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297308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495843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619551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6112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322247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83373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644494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30562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96674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627865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288991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 txBox="1">
            <a:spLocks/>
          </p:cNvSpPr>
          <p:nvPr userDrawn="1"/>
        </p:nvSpPr>
        <p:spPr>
          <a:xfrm>
            <a:off x="640080" y="384502"/>
            <a:ext cx="11521440" cy="895668"/>
          </a:xfrm>
          <a:prstGeom prst="rect">
            <a:avLst/>
          </a:prstGeom>
        </p:spPr>
        <p:txBody>
          <a:bodyPr lIns="122055" tIns="61029" rIns="122055" bIns="61029"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Myriad Pro" pitchFamily="34" charset="0"/>
                <a:ea typeface="+mj-ea"/>
                <a:cs typeface="+mj-cs"/>
              </a:defRPr>
            </a:lvl1pPr>
          </a:lstStyle>
          <a:p>
            <a:endParaRPr lang="ru-RU" sz="3500" dirty="0">
              <a:solidFill>
                <a:srgbClr val="000000"/>
              </a:solidFill>
            </a:endParaRPr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 lIns="122055" tIns="61029" rIns="122055" bIns="61029"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1"/>
            <a:ext cx="12801600" cy="21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11317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1" r:id="rId6"/>
    <p:sldLayoutId id="2147483852" r:id="rId7"/>
    <p:sldLayoutId id="2147483853" r:id="rId8"/>
    <p:sldLayoutId id="2147483854" r:id="rId9"/>
    <p:sldLayoutId id="2147483855" r:id="rId10"/>
    <p:sldLayoutId id="2147483856" r:id="rId11"/>
    <p:sldLayoutId id="2147483857" r:id="rId12"/>
    <p:sldLayoutId id="2147483858" r:id="rId13"/>
    <p:sldLayoutId id="2147483859" r:id="rId14"/>
    <p:sldLayoutId id="2147484066" r:id="rId15"/>
    <p:sldLayoutId id="2147484067" r:id="rId16"/>
    <p:sldLayoutId id="2147484068" r:id="rId17"/>
    <p:sldLayoutId id="2147484069" r:id="rId18"/>
    <p:sldLayoutId id="2147484070" r:id="rId19"/>
    <p:sldLayoutId id="2147484071" r:id="rId20"/>
    <p:sldLayoutId id="2147484072" r:id="rId2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1322247" rtl="0" eaLnBrk="1" latinLnBrk="0" hangingPunct="1">
        <a:spcBef>
          <a:spcPct val="0"/>
        </a:spcBef>
        <a:buNone/>
        <a:defRPr sz="6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5841" indent="-495841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74328" indent="-413206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4100" kern="1200">
          <a:solidFill>
            <a:schemeClr val="tx1"/>
          </a:solidFill>
          <a:latin typeface="+mn-lt"/>
          <a:ea typeface="+mn-ea"/>
          <a:cs typeface="+mn-cs"/>
        </a:defRPr>
      </a:lvl2pPr>
      <a:lvl3pPr marL="1652809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3pPr>
      <a:lvl4pPr marL="2313935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75056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»"/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3618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297308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495843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619551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6112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322247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83373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644494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30562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96674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627865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288991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 txBox="1">
            <a:spLocks/>
          </p:cNvSpPr>
          <p:nvPr userDrawn="1"/>
        </p:nvSpPr>
        <p:spPr>
          <a:xfrm>
            <a:off x="640080" y="384502"/>
            <a:ext cx="11521440" cy="895668"/>
          </a:xfrm>
          <a:prstGeom prst="rect">
            <a:avLst/>
          </a:prstGeom>
        </p:spPr>
        <p:txBody>
          <a:bodyPr lIns="122055" tIns="61029" rIns="122055" bIns="61029"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Myriad Pro" pitchFamily="34" charset="0"/>
                <a:ea typeface="+mj-ea"/>
                <a:cs typeface="+mj-cs"/>
              </a:defRPr>
            </a:lvl1pPr>
          </a:lstStyle>
          <a:p>
            <a:endParaRPr lang="ru-RU" sz="3500" dirty="0">
              <a:solidFill>
                <a:srgbClr val="000000"/>
              </a:solidFill>
            </a:endParaRPr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054875" y="9199373"/>
            <a:ext cx="533401" cy="270256"/>
          </a:xfrm>
          <a:prstGeom prst="rect">
            <a:avLst/>
          </a:prstGeom>
        </p:spPr>
        <p:txBody>
          <a:bodyPr lIns="122055" tIns="61029" rIns="122055" bIns="61029"/>
          <a:lstStyle>
            <a:lvl1pPr algn="r">
              <a:defRPr sz="1300">
                <a:latin typeface="Myriad Pro" pitchFamily="34" charset="0"/>
                <a:cs typeface="Myriad Arabic" pitchFamily="50" charset="-78"/>
              </a:defRPr>
            </a:lvl1pPr>
          </a:lstStyle>
          <a:p>
            <a:pPr marL="36732"/>
            <a:fld id="{81D60167-4931-47E6-BA6A-407CBD079E47}" type="slidenum">
              <a:rPr lang="ru-RU" smtClean="0">
                <a:solidFill>
                  <a:srgbClr val="000000"/>
                </a:solidFill>
              </a:rPr>
              <a:pPr marL="3673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1"/>
            <a:ext cx="12801600" cy="21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0177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  <p:sldLayoutId id="2147483872" r:id="rId12"/>
    <p:sldLayoutId id="2147483873" r:id="rId13"/>
    <p:sldLayoutId id="2147483874" r:id="rId14"/>
    <p:sldLayoutId id="2147484073" r:id="rId15"/>
    <p:sldLayoutId id="2147484074" r:id="rId16"/>
    <p:sldLayoutId id="2147484075" r:id="rId17"/>
    <p:sldLayoutId id="2147484076" r:id="rId18"/>
    <p:sldLayoutId id="2147484077" r:id="rId19"/>
    <p:sldLayoutId id="2147484078" r:id="rId20"/>
    <p:sldLayoutId id="2147484079" r:id="rId2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defTabSz="1322247" rtl="0" eaLnBrk="1" latinLnBrk="0" hangingPunct="1">
        <a:spcBef>
          <a:spcPct val="0"/>
        </a:spcBef>
        <a:buNone/>
        <a:defRPr sz="6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95841" indent="-495841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74328" indent="-413206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4100" kern="1200">
          <a:solidFill>
            <a:schemeClr val="tx1"/>
          </a:solidFill>
          <a:latin typeface="+mn-lt"/>
          <a:ea typeface="+mn-ea"/>
          <a:cs typeface="+mn-cs"/>
        </a:defRPr>
      </a:lvl2pPr>
      <a:lvl3pPr marL="1652809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3pPr>
      <a:lvl4pPr marL="2313935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75056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»"/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3618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297308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4958432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619551" indent="-330560" algn="l" defTabSz="1322247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6112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322247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83373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644494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305620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966746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627865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288991" algn="l" defTabSz="1322247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5"/>
          <p:cNvSpPr txBox="1"/>
          <p:nvPr/>
        </p:nvSpPr>
        <p:spPr>
          <a:xfrm>
            <a:off x="582201" y="3563114"/>
            <a:ext cx="1434021" cy="247497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pPr marL="17760" defTabSz="1278928">
              <a:lnSpc>
                <a:spcPts val="21923"/>
              </a:lnSpc>
            </a:pPr>
            <a:r>
              <a:rPr lang="ru-RU" sz="14000" b="1" dirty="0">
                <a:solidFill>
                  <a:srgbClr val="8AC63F"/>
                </a:solidFill>
                <a:cs typeface="Tahoma"/>
              </a:rPr>
              <a:t>5</a:t>
            </a:r>
            <a:endParaRPr sz="14000" dirty="0">
              <a:solidFill>
                <a:srgbClr val="3E5057"/>
              </a:solidFill>
              <a:cs typeface="Tahoma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415652" y="4538990"/>
            <a:ext cx="913035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3200" b="1" dirty="0" smtClean="0"/>
              <a:t>Основные выводы и рекомендации</a:t>
            </a:r>
            <a:endParaRPr lang="ru-RU" sz="3200" b="1" dirty="0"/>
          </a:p>
        </p:txBody>
      </p:sp>
    </p:spTree>
    <p:extLst>
      <p:ext uri="{BB962C8B-B14F-4D97-AF65-F5344CB8AC3E}">
        <p14:creationId xmlns:p14="http://schemas.microsoft.com/office/powerpoint/2010/main" val="2500749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4000" y="373581"/>
            <a:ext cx="11793600" cy="430887"/>
          </a:xfrm>
        </p:spPr>
        <p:txBody>
          <a:bodyPr/>
          <a:lstStyle/>
          <a:p>
            <a:r>
              <a:rPr lang="ru-RU" dirty="0" smtClean="0"/>
              <a:t>Рекомендации ОЭСР в сфере жилищной политики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429904" y="1375631"/>
            <a:ext cx="11853081" cy="66171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/>
              <a:t>Рекомендации и </a:t>
            </a:r>
            <a:r>
              <a:rPr lang="ru-RU" dirty="0" smtClean="0"/>
              <a:t>стандарты, подготовленные по итогам отчета, </a:t>
            </a:r>
            <a:r>
              <a:rPr lang="ru-RU" dirty="0"/>
              <a:t>сгруппированы по направлениям исследований ОЭСР в сфере жилищной политики</a:t>
            </a:r>
            <a:r>
              <a:rPr lang="ru-RU" dirty="0" smtClean="0"/>
              <a:t>:</a:t>
            </a:r>
          </a:p>
          <a:p>
            <a:endParaRPr lang="ru-RU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ru-RU" sz="2400" dirty="0"/>
              <a:t>региональное и городское </a:t>
            </a:r>
            <a:r>
              <a:rPr lang="ru-RU" sz="2400" dirty="0" smtClean="0"/>
              <a:t>развитие</a:t>
            </a:r>
            <a:endParaRPr lang="ru-RU" sz="24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ru-RU" sz="2400" dirty="0"/>
              <a:t>государственное </a:t>
            </a:r>
            <a:r>
              <a:rPr lang="ru-RU" sz="2400" dirty="0" smtClean="0"/>
              <a:t>управление</a:t>
            </a:r>
            <a:endParaRPr lang="ru-RU" sz="24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ru-RU" sz="2400" dirty="0"/>
              <a:t>экология и «зеленый» рост, </a:t>
            </a:r>
            <a:r>
              <a:rPr lang="ru-RU" sz="2400" dirty="0" smtClean="0"/>
              <a:t>отходы</a:t>
            </a:r>
            <a:endParaRPr lang="ru-RU" sz="24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ru-RU" sz="2400" dirty="0" smtClean="0"/>
              <a:t>конкуренция</a:t>
            </a:r>
            <a:endParaRPr lang="ru-RU" sz="24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ru-RU" sz="2400" dirty="0"/>
              <a:t>потребительская </a:t>
            </a:r>
            <a:r>
              <a:rPr lang="ru-RU" sz="2400" dirty="0" smtClean="0"/>
              <a:t>политика</a:t>
            </a:r>
            <a:endParaRPr lang="ru-RU" sz="24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ru-RU" sz="2400" dirty="0" smtClean="0"/>
              <a:t>образование</a:t>
            </a:r>
            <a:endParaRPr lang="ru-RU" sz="24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ru-RU" sz="2400" dirty="0"/>
              <a:t>занятость, миграция, рынок </a:t>
            </a:r>
            <a:r>
              <a:rPr lang="ru-RU" sz="2400" dirty="0" smtClean="0"/>
              <a:t>труда</a:t>
            </a:r>
            <a:endParaRPr lang="ru-RU" sz="24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ru-RU" sz="2400" dirty="0" smtClean="0"/>
              <a:t>энергетика</a:t>
            </a:r>
            <a:endParaRPr lang="ru-RU" sz="24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ru-RU" sz="2400" dirty="0" smtClean="0"/>
              <a:t>инвестиции</a:t>
            </a:r>
            <a:endParaRPr lang="ru-RU" sz="24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ru-RU" sz="2400" dirty="0" smtClean="0"/>
              <a:t>налоги</a:t>
            </a:r>
            <a:endParaRPr lang="ru-RU" sz="24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ru-RU" sz="2400" dirty="0"/>
              <a:t>наука, инновации, информационно-коммуникационные технологии (ИКТ</a:t>
            </a:r>
            <a:r>
              <a:rPr lang="ru-RU" sz="2400" dirty="0" smtClean="0"/>
              <a:t>)</a:t>
            </a:r>
            <a:endParaRPr lang="ru-RU" sz="24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ru-RU" sz="2400" dirty="0"/>
              <a:t>социальные вопросы и инклюзивный </a:t>
            </a:r>
            <a:r>
              <a:rPr lang="ru-RU" sz="2400" dirty="0" smtClean="0"/>
              <a:t>рост</a:t>
            </a:r>
            <a:endParaRPr lang="ru-RU" sz="24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ru-RU" sz="2400" dirty="0"/>
              <a:t>статистика и </a:t>
            </a:r>
            <a:r>
              <a:rPr lang="ru-RU" sz="2400" dirty="0" smtClean="0"/>
              <a:t>аналитика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32519273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7672" y="196160"/>
            <a:ext cx="11793600" cy="430887"/>
          </a:xfrm>
        </p:spPr>
        <p:txBody>
          <a:bodyPr/>
          <a:lstStyle/>
          <a:p>
            <a:r>
              <a:rPr lang="ru-RU" dirty="0" smtClean="0"/>
              <a:t>Региональное и городское развитие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477671" y="843368"/>
            <a:ext cx="11436823" cy="23544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Эффективно использовать городское </a:t>
            </a:r>
            <a:r>
              <a:rPr lang="ru-RU" sz="2000" dirty="0" smtClean="0"/>
              <a:t>пространство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ru-RU" sz="900" dirty="0" smtClean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Реализовывать подходы нового урбанизма в городской </a:t>
            </a:r>
            <a:r>
              <a:rPr lang="ru-RU" sz="2000" dirty="0" smtClean="0"/>
              <a:t>политике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ru-RU" sz="900" dirty="0" smtClean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Разрабатывать и внедрять передовые правила градостроительного зонирования, землепользования и смежных </a:t>
            </a:r>
            <a:r>
              <a:rPr lang="ru-RU" sz="2000" dirty="0" smtClean="0"/>
              <a:t>инструментов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ru-RU" sz="900" dirty="0" smtClean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Использовать комплексный подход к городскому и территориальному планированию вместо решения точечных задач</a:t>
            </a: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566381" y="3354622"/>
            <a:ext cx="1179360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28016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accent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ru-RU" dirty="0" smtClean="0"/>
              <a:t>Государственное управление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566381" y="3980929"/>
            <a:ext cx="11525533" cy="26622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Осуществлять децентрализацию полномочий в области градостроительной деятельности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ru-RU" sz="900" dirty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Снижать административные барьеры в сфере строительства и </a:t>
            </a:r>
            <a:r>
              <a:rPr lang="ru-RU" sz="2000" dirty="0" smtClean="0"/>
              <a:t>ЖКХ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ru-RU" sz="900" dirty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Улучшать вертикальную и горизонтальную координацию управления в сфере жилищной </a:t>
            </a:r>
            <a:r>
              <a:rPr lang="ru-RU" sz="2000" dirty="0" smtClean="0"/>
              <a:t>политики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ru-RU" sz="900" dirty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Создавать информационные системы в жилищной сфере, основанные на принципах централизации и открытых </a:t>
            </a:r>
            <a:r>
              <a:rPr lang="ru-RU" sz="2000" dirty="0" smtClean="0"/>
              <a:t>данных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ru-RU" sz="2000" dirty="0"/>
          </a:p>
        </p:txBody>
      </p:sp>
      <p:sp>
        <p:nvSpPr>
          <p:cNvPr id="7" name="Заголовок 1"/>
          <p:cNvSpPr txBox="1">
            <a:spLocks/>
          </p:cNvSpPr>
          <p:nvPr/>
        </p:nvSpPr>
        <p:spPr bwMode="auto">
          <a:xfrm>
            <a:off x="566382" y="6427752"/>
            <a:ext cx="1179360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28016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accent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ru-RU" dirty="0" smtClean="0"/>
              <a:t>Экология и зеленый рост, отходы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566380" y="6983107"/>
            <a:ext cx="11436823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Стимулировать «зеленые» инвестиции при строительстве и оборудовании </a:t>
            </a:r>
            <a:r>
              <a:rPr lang="ru-RU" sz="2000" dirty="0" smtClean="0"/>
              <a:t>жилья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ru-RU" sz="900" dirty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Стимулировать проекты в рамках «зеленого» государственно-частного партнерства (ГЧП</a:t>
            </a:r>
            <a:r>
              <a:rPr lang="ru-RU" sz="2000" dirty="0" smtClean="0"/>
              <a:t>)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ru-RU" sz="900" dirty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Повышать роль «зеленого» фактора при планировании и финансировании жилищной </a:t>
            </a:r>
            <a:r>
              <a:rPr lang="ru-RU" sz="2000" dirty="0" smtClean="0"/>
              <a:t>политики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ru-RU" sz="900" dirty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Реализовывать подходы «умной» утилизация твердых бытовых </a:t>
            </a:r>
            <a:r>
              <a:rPr lang="ru-RU" sz="2000" dirty="0" smtClean="0"/>
              <a:t>отходов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ru-RU" sz="900" dirty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Внедрять концепцию «зеленых» городов</a:t>
            </a:r>
          </a:p>
        </p:txBody>
      </p:sp>
    </p:spTree>
    <p:extLst>
      <p:ext uri="{BB962C8B-B14F-4D97-AF65-F5344CB8AC3E}">
        <p14:creationId xmlns:p14="http://schemas.microsoft.com/office/powerpoint/2010/main" val="5650747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4000" y="373581"/>
            <a:ext cx="11793600" cy="430887"/>
          </a:xfrm>
        </p:spPr>
        <p:txBody>
          <a:bodyPr/>
          <a:lstStyle/>
          <a:p>
            <a:r>
              <a:rPr lang="ru-RU" dirty="0" smtClean="0"/>
              <a:t>Конкуренция 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539085" y="1105595"/>
            <a:ext cx="11793600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2000" dirty="0" smtClean="0"/>
              <a:t>Осуществлять регулярный мониторинг конъюнктуры на рынке жилья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9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2000" dirty="0" smtClean="0"/>
              <a:t>Отдавать приоритет тем мерам государственной поддержки, которые не искажают рыночную конкуренцию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9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2000" dirty="0" smtClean="0"/>
              <a:t>Развивать электронные сервисы и документооборот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9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2000" dirty="0" smtClean="0"/>
              <a:t>Для увеличения предложения недвижимости проводить ревизию норм, затрагивающих сферу строительства и землепользования, способных усилить конкуренцию в строительном секторе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9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2000" dirty="0" smtClean="0"/>
              <a:t>Соблюдать баланс между устойчивостью и свободой на рынке недвижимости</a:t>
            </a:r>
            <a:endParaRPr lang="ru-RU" sz="2000" dirty="0"/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539087" y="3975943"/>
            <a:ext cx="1179360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28016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accent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ru-RU" dirty="0" smtClean="0"/>
              <a:t>Потребительская политика 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539081" y="4561399"/>
            <a:ext cx="11443649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2000" dirty="0"/>
              <a:t>Максимально раскрывать информацию об ипотечных продуктах, например, об общей «цене кредита</a:t>
            </a:r>
            <a:r>
              <a:rPr lang="ru-RU" sz="2000" dirty="0" smtClean="0"/>
              <a:t>»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9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2000" dirty="0"/>
              <a:t>Осуществлять постоянный мониторинг за сектором ипотеки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 bwMode="auto">
          <a:xfrm>
            <a:off x="539087" y="5865648"/>
            <a:ext cx="1179360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28016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accent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ru-RU" dirty="0" smtClean="0"/>
              <a:t>Образование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539085" y="6369869"/>
            <a:ext cx="1179360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/>
              <a:t>Повышать потребительскую финансовую грамотность</a:t>
            </a:r>
          </a:p>
        </p:txBody>
      </p:sp>
      <p:sp>
        <p:nvSpPr>
          <p:cNvPr id="9" name="Заголовок 1"/>
          <p:cNvSpPr txBox="1">
            <a:spLocks/>
          </p:cNvSpPr>
          <p:nvPr/>
        </p:nvSpPr>
        <p:spPr bwMode="auto">
          <a:xfrm>
            <a:off x="539085" y="7071916"/>
            <a:ext cx="1179360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28016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accent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ru-RU" dirty="0" smtClean="0"/>
              <a:t>Занятость, миграция, рынок труда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539081" y="7871293"/>
            <a:ext cx="11593777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2000" dirty="0"/>
              <a:t>Интегрировать градостроительную политику, политику занятости и </a:t>
            </a:r>
            <a:r>
              <a:rPr lang="ru-RU" sz="2000" dirty="0" smtClean="0"/>
              <a:t>транспорта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9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2000" dirty="0"/>
              <a:t>Управлять маятниковой миграцией сельского </a:t>
            </a:r>
            <a:r>
              <a:rPr lang="ru-RU" sz="2000" dirty="0" smtClean="0"/>
              <a:t>населения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9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2000" dirty="0"/>
              <a:t>Разработать единую электронную базу учета внутренней миграции</a:t>
            </a:r>
          </a:p>
        </p:txBody>
      </p:sp>
    </p:spTree>
    <p:extLst>
      <p:ext uri="{BB962C8B-B14F-4D97-AF65-F5344CB8AC3E}">
        <p14:creationId xmlns:p14="http://schemas.microsoft.com/office/powerpoint/2010/main" val="19998693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4000" y="373581"/>
            <a:ext cx="11793600" cy="430887"/>
          </a:xfrm>
        </p:spPr>
        <p:txBody>
          <a:bodyPr/>
          <a:lstStyle/>
          <a:p>
            <a:r>
              <a:rPr lang="ru-RU" dirty="0" smtClean="0"/>
              <a:t>Энергетика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484494" y="884311"/>
            <a:ext cx="11634717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Использовать инструменты  </a:t>
            </a:r>
            <a:r>
              <a:rPr lang="ru-RU" sz="2000" dirty="0" err="1"/>
              <a:t>энергоэффективности</a:t>
            </a:r>
            <a:r>
              <a:rPr lang="ru-RU" sz="2000" dirty="0"/>
              <a:t> в </a:t>
            </a:r>
            <a:r>
              <a:rPr lang="ru-RU" sz="2000" dirty="0" smtClean="0"/>
              <a:t>ЖКХ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ru-RU" sz="900" dirty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Повышать </a:t>
            </a:r>
            <a:r>
              <a:rPr lang="ru-RU" sz="2000" dirty="0" err="1"/>
              <a:t>энергоэффективность</a:t>
            </a:r>
            <a:r>
              <a:rPr lang="ru-RU" sz="2000" dirty="0"/>
              <a:t> социального </a:t>
            </a:r>
            <a:r>
              <a:rPr lang="ru-RU" sz="2000" dirty="0" smtClean="0"/>
              <a:t>жилья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ru-RU" sz="900" dirty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Развивать энергосберегающую инфраструктуру</a:t>
            </a: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484494" y="2179838"/>
            <a:ext cx="1179360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28016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accent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ru-RU" dirty="0" smtClean="0"/>
              <a:t>Инвестиции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48670" y="2740281"/>
            <a:ext cx="11416354" cy="38625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Учитывать интересы инвесторов в рамках жилищной </a:t>
            </a:r>
            <a:r>
              <a:rPr lang="ru-RU" sz="2000" dirty="0" smtClean="0"/>
              <a:t>политики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ru-RU" sz="900" dirty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Привлекать институциональных инвесторов в сферу </a:t>
            </a:r>
            <a:r>
              <a:rPr lang="ru-RU" sz="2000" dirty="0" smtClean="0"/>
              <a:t>ЖКХ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ru-RU" sz="900" dirty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Проводить самооценку эффективности привлечения </a:t>
            </a:r>
            <a:r>
              <a:rPr lang="ru-RU" sz="2000" dirty="0" smtClean="0"/>
              <a:t>инвестиций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ru-RU" sz="900" dirty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Интегрировать градостроительную политику с национальными и региональными инвестиционными </a:t>
            </a:r>
            <a:r>
              <a:rPr lang="ru-RU" sz="2000" dirty="0" smtClean="0"/>
              <a:t>программами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ru-RU" sz="900" dirty="0" smtClean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Создавать и поощрять механизмы взаимодействия между регионами по вопросам совместного финансирования взаимовыгодных </a:t>
            </a:r>
            <a:r>
              <a:rPr lang="ru-RU" sz="2000" dirty="0" smtClean="0"/>
              <a:t>проектов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ru-RU" sz="900" dirty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Создавать благоприятный инвестиционный климат с целью поощрения частных инвестиций в ЖКХ и развития ГЧП в этой </a:t>
            </a:r>
            <a:r>
              <a:rPr lang="ru-RU" sz="2000" dirty="0" smtClean="0"/>
              <a:t>сфере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ru-RU" sz="2000" dirty="0"/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484494" y="6387434"/>
            <a:ext cx="1179360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28016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accent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ru-RU" dirty="0" smtClean="0"/>
              <a:t>Налоги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520317" y="6967158"/>
            <a:ext cx="1118433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Реализовывать подходы фискального федерализма</a:t>
            </a:r>
          </a:p>
        </p:txBody>
      </p:sp>
      <p:sp>
        <p:nvSpPr>
          <p:cNvPr id="8" name="Заголовок 1"/>
          <p:cNvSpPr txBox="1">
            <a:spLocks/>
          </p:cNvSpPr>
          <p:nvPr/>
        </p:nvSpPr>
        <p:spPr bwMode="auto">
          <a:xfrm>
            <a:off x="484494" y="7400444"/>
            <a:ext cx="1179360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28016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accent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ru-RU" dirty="0" smtClean="0"/>
              <a:t>Наука, инновации, ИКТ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520318" y="7957209"/>
            <a:ext cx="11344706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Реализовать потенциал «больших данных» в </a:t>
            </a:r>
            <a:r>
              <a:rPr lang="ru-RU" sz="2000" dirty="0" smtClean="0"/>
              <a:t>ЖКХ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ru-RU" sz="900" dirty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Реализовать потенциал «больших данных» в городской </a:t>
            </a:r>
            <a:r>
              <a:rPr lang="ru-RU" sz="2000" dirty="0" smtClean="0"/>
              <a:t>политике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ru-RU" sz="900" dirty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Развивать инновационный потенциал моногородов</a:t>
            </a:r>
          </a:p>
        </p:txBody>
      </p:sp>
    </p:spTree>
    <p:extLst>
      <p:ext uri="{BB962C8B-B14F-4D97-AF65-F5344CB8AC3E}">
        <p14:creationId xmlns:p14="http://schemas.microsoft.com/office/powerpoint/2010/main" val="21242523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4000" y="373581"/>
            <a:ext cx="11793600" cy="430887"/>
          </a:xfrm>
        </p:spPr>
        <p:txBody>
          <a:bodyPr/>
          <a:lstStyle/>
          <a:p>
            <a:r>
              <a:rPr lang="ru-RU" dirty="0" smtClean="0"/>
              <a:t>Социальные вопросы и инклюзивный рост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498142" y="1091948"/>
            <a:ext cx="1159377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Проводить комплексное изучение феномена </a:t>
            </a:r>
            <a:r>
              <a:rPr lang="ru-RU" sz="2000" dirty="0" smtClean="0"/>
              <a:t>бездомности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ru-RU" sz="1400" dirty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Достичь баланса прав арендаторов и </a:t>
            </a:r>
            <a:r>
              <a:rPr lang="ru-RU" sz="2000" dirty="0" smtClean="0"/>
              <a:t>арендодателей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endParaRPr lang="ru-RU" sz="1400" dirty="0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ru-RU" sz="2000" dirty="0"/>
              <a:t>Учитывать в градостроительной политике вопросы пространственной сегрегации</a:t>
            </a: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498142" y="2883680"/>
            <a:ext cx="1179360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128016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accent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r>
              <a:rPr lang="ru-RU" dirty="0" smtClean="0"/>
              <a:t>Статистика и аналитика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98141" y="3677216"/>
            <a:ext cx="11443649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/>
              <a:t>Интегрировать данные по Российской Федерации в базы данных ОЭСР, содержащие статистические данные в жилищной </a:t>
            </a:r>
            <a:r>
              <a:rPr lang="ru-RU" sz="2000" dirty="0" smtClean="0"/>
              <a:t>сфер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/>
              <a:t>Обеспечить регулярность и системность сбора статистических данных, характеризующих состояние жилищной сферы </a:t>
            </a:r>
            <a:r>
              <a:rPr lang="ru-RU" sz="2000" dirty="0" smtClean="0"/>
              <a:t>Росс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/>
              <a:t>Гармонизировать методики измерений и обеспечить полноту собираемых </a:t>
            </a:r>
            <a:r>
              <a:rPr lang="ru-RU" sz="2000" dirty="0" smtClean="0"/>
              <a:t>данны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/>
              <a:t>Внедрять лучшие международные статистические </a:t>
            </a:r>
            <a:r>
              <a:rPr lang="ru-RU" sz="2000" dirty="0" smtClean="0"/>
              <a:t>практик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/>
              <a:t>Измерять динамику занятости на уровне субъектов и агломераций</a:t>
            </a:r>
          </a:p>
        </p:txBody>
      </p:sp>
    </p:spTree>
    <p:extLst>
      <p:ext uri="{BB962C8B-B14F-4D97-AF65-F5344CB8AC3E}">
        <p14:creationId xmlns:p14="http://schemas.microsoft.com/office/powerpoint/2010/main" val="29521732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4000" y="373581"/>
            <a:ext cx="11793600" cy="430887"/>
          </a:xfrm>
        </p:spPr>
        <p:txBody>
          <a:bodyPr/>
          <a:lstStyle/>
          <a:p>
            <a:r>
              <a:rPr lang="ru-RU" dirty="0" smtClean="0"/>
              <a:t>Итоговые выводы: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470848" y="1123118"/>
            <a:ext cx="11743898" cy="65556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 smtClean="0"/>
              <a:t>Сферы</a:t>
            </a:r>
            <a:r>
              <a:rPr lang="ru-RU" b="1" dirty="0"/>
              <a:t>, обладающие наибольшим потенциалом для дальнейшей гармонизации с практиками ОЭСР</a:t>
            </a:r>
            <a:r>
              <a:rPr lang="ru-RU" b="1" dirty="0" smtClean="0"/>
              <a:t>:</a:t>
            </a:r>
          </a:p>
          <a:p>
            <a:pPr algn="just"/>
            <a:endParaRPr lang="ru-RU" dirty="0"/>
          </a:p>
          <a:p>
            <a:pPr marL="457200" lvl="0" indent="-457200" algn="just">
              <a:buFont typeface="Arial" panose="020B0604020202020204" pitchFamily="34" charset="0"/>
              <a:buChar char="•"/>
            </a:pPr>
            <a:r>
              <a:rPr lang="ru-RU" dirty="0"/>
              <a:t>наука, инновации и </a:t>
            </a:r>
            <a:r>
              <a:rPr lang="ru-RU" dirty="0" smtClean="0"/>
              <a:t>ИКТ</a:t>
            </a:r>
            <a:endParaRPr lang="ru-RU" dirty="0"/>
          </a:p>
          <a:p>
            <a:pPr marL="457200" lvl="0" indent="-457200" algn="just">
              <a:buFont typeface="Arial" panose="020B0604020202020204" pitchFamily="34" charset="0"/>
              <a:buChar char="•"/>
            </a:pPr>
            <a:r>
              <a:rPr lang="ru-RU" dirty="0"/>
              <a:t>государственное </a:t>
            </a:r>
            <a:r>
              <a:rPr lang="ru-RU" dirty="0" smtClean="0"/>
              <a:t>управление</a:t>
            </a:r>
            <a:endParaRPr lang="ru-RU" dirty="0"/>
          </a:p>
          <a:p>
            <a:pPr marL="457200" lvl="0" indent="-457200" algn="just">
              <a:buFont typeface="Arial" panose="020B0604020202020204" pitchFamily="34" charset="0"/>
              <a:buChar char="•"/>
            </a:pPr>
            <a:r>
              <a:rPr lang="ru-RU" dirty="0"/>
              <a:t>занятость, миграция и рынок </a:t>
            </a:r>
            <a:r>
              <a:rPr lang="ru-RU" dirty="0" smtClean="0"/>
              <a:t>труда</a:t>
            </a:r>
            <a:endParaRPr lang="ru-RU" dirty="0"/>
          </a:p>
          <a:p>
            <a:pPr marL="457200" lvl="0" indent="-457200" algn="just">
              <a:buFont typeface="Arial" panose="020B0604020202020204" pitchFamily="34" charset="0"/>
              <a:buChar char="•"/>
            </a:pPr>
            <a:r>
              <a:rPr lang="ru-RU" dirty="0"/>
              <a:t>социальные вопросы и инклюзивный </a:t>
            </a:r>
            <a:r>
              <a:rPr lang="ru-RU" dirty="0" smtClean="0"/>
              <a:t>рост</a:t>
            </a:r>
            <a:endParaRPr lang="ru-RU" dirty="0"/>
          </a:p>
          <a:p>
            <a:pPr marL="457200" lvl="0" indent="-457200" algn="just">
              <a:buFont typeface="Arial" panose="020B0604020202020204" pitchFamily="34" charset="0"/>
              <a:buChar char="•"/>
            </a:pPr>
            <a:r>
              <a:rPr lang="ru-RU" dirty="0"/>
              <a:t>статистика и </a:t>
            </a:r>
            <a:r>
              <a:rPr lang="ru-RU" dirty="0" smtClean="0"/>
              <a:t>аналитика</a:t>
            </a:r>
          </a:p>
          <a:p>
            <a:pPr marL="457200" lvl="0" indent="-457200" algn="just">
              <a:buFont typeface="Arial" panose="020B0604020202020204" pitchFamily="34" charset="0"/>
              <a:buChar char="•"/>
            </a:pPr>
            <a:endParaRPr lang="ru-RU" dirty="0"/>
          </a:p>
          <a:p>
            <a:pPr lvl="0" algn="just"/>
            <a:r>
              <a:rPr lang="ru-RU" b="1" dirty="0" smtClean="0"/>
              <a:t>В </a:t>
            </a:r>
            <a:r>
              <a:rPr lang="ru-RU" b="1" dirty="0"/>
              <a:t>достаточной мере уже гармонизированы такие сферы как</a:t>
            </a:r>
            <a:r>
              <a:rPr lang="ru-RU" b="1" dirty="0" smtClean="0"/>
              <a:t>:</a:t>
            </a:r>
          </a:p>
          <a:p>
            <a:pPr lvl="0" algn="just"/>
            <a:endParaRPr lang="ru-RU" dirty="0"/>
          </a:p>
          <a:p>
            <a:pPr marL="457200" lvl="0" indent="-457200" algn="just">
              <a:buFont typeface="Arial" panose="020B0604020202020204" pitchFamily="34" charset="0"/>
              <a:buChar char="•"/>
            </a:pPr>
            <a:r>
              <a:rPr lang="ru-RU" dirty="0"/>
              <a:t>региональное и городское </a:t>
            </a:r>
            <a:r>
              <a:rPr lang="ru-RU" dirty="0" smtClean="0"/>
              <a:t>развитие</a:t>
            </a:r>
            <a:endParaRPr lang="ru-RU" dirty="0"/>
          </a:p>
          <a:p>
            <a:pPr marL="457200" lvl="0" indent="-457200" algn="just">
              <a:buFont typeface="Arial" panose="020B0604020202020204" pitchFamily="34" charset="0"/>
              <a:buChar char="•"/>
            </a:pPr>
            <a:r>
              <a:rPr lang="ru-RU" dirty="0" smtClean="0"/>
              <a:t>энергетика</a:t>
            </a:r>
            <a:endParaRPr lang="ru-RU" dirty="0"/>
          </a:p>
          <a:p>
            <a:pPr marL="457200" lvl="0" indent="-457200" algn="just">
              <a:buFont typeface="Arial" panose="020B0604020202020204" pitchFamily="34" charset="0"/>
              <a:buChar char="•"/>
            </a:pPr>
            <a:r>
              <a:rPr lang="ru-RU" dirty="0" smtClean="0"/>
              <a:t>инвестиции</a:t>
            </a:r>
            <a:endParaRPr lang="ru-RU" dirty="0"/>
          </a:p>
          <a:p>
            <a:pPr lvl="0" algn="just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437802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SE_final_arial">
  <a:themeElements>
    <a:clrScheme name="ВШЭ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1C5C99"/>
      </a:accent1>
      <a:accent2>
        <a:srgbClr val="63C668"/>
      </a:accent2>
      <a:accent3>
        <a:srgbClr val="029FE4"/>
      </a:accent3>
      <a:accent4>
        <a:srgbClr val="F05A59"/>
      </a:accent4>
      <a:accent5>
        <a:srgbClr val="7858A4"/>
      </a:accent5>
      <a:accent6>
        <a:srgbClr val="F0972F"/>
      </a:accent6>
      <a:hlink>
        <a:srgbClr val="1155CC"/>
      </a:hlink>
      <a:folHlink>
        <a:srgbClr val="6611CC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8_HSE_final_arial">
  <a:themeElements>
    <a:clrScheme name="ВШЭ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1C5C99"/>
      </a:accent1>
      <a:accent2>
        <a:srgbClr val="63C668"/>
      </a:accent2>
      <a:accent3>
        <a:srgbClr val="029FE4"/>
      </a:accent3>
      <a:accent4>
        <a:srgbClr val="F05A59"/>
      </a:accent4>
      <a:accent5>
        <a:srgbClr val="7858A4"/>
      </a:accent5>
      <a:accent6>
        <a:srgbClr val="F0972F"/>
      </a:accent6>
      <a:hlink>
        <a:srgbClr val="1155CC"/>
      </a:hlink>
      <a:folHlink>
        <a:srgbClr val="6611CC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9_HSE_final_arial">
  <a:themeElements>
    <a:clrScheme name="ВШЭ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1C5C99"/>
      </a:accent1>
      <a:accent2>
        <a:srgbClr val="63C668"/>
      </a:accent2>
      <a:accent3>
        <a:srgbClr val="029FE4"/>
      </a:accent3>
      <a:accent4>
        <a:srgbClr val="F05A59"/>
      </a:accent4>
      <a:accent5>
        <a:srgbClr val="7858A4"/>
      </a:accent5>
      <a:accent6>
        <a:srgbClr val="F0972F"/>
      </a:accent6>
      <a:hlink>
        <a:srgbClr val="1155CC"/>
      </a:hlink>
      <a:folHlink>
        <a:srgbClr val="6611CC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10_HSE_final_arial">
  <a:themeElements>
    <a:clrScheme name="ВШЭ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1C5C99"/>
      </a:accent1>
      <a:accent2>
        <a:srgbClr val="63C668"/>
      </a:accent2>
      <a:accent3>
        <a:srgbClr val="029FE4"/>
      </a:accent3>
      <a:accent4>
        <a:srgbClr val="F05A59"/>
      </a:accent4>
      <a:accent5>
        <a:srgbClr val="7858A4"/>
      </a:accent5>
      <a:accent6>
        <a:srgbClr val="F0972F"/>
      </a:accent6>
      <a:hlink>
        <a:srgbClr val="1155CC"/>
      </a:hlink>
      <a:folHlink>
        <a:srgbClr val="6611CC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11_HSE_final_arial">
  <a:themeElements>
    <a:clrScheme name="ВШЭ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1C5C99"/>
      </a:accent1>
      <a:accent2>
        <a:srgbClr val="63C668"/>
      </a:accent2>
      <a:accent3>
        <a:srgbClr val="029FE4"/>
      </a:accent3>
      <a:accent4>
        <a:srgbClr val="F05A59"/>
      </a:accent4>
      <a:accent5>
        <a:srgbClr val="7858A4"/>
      </a:accent5>
      <a:accent6>
        <a:srgbClr val="F0972F"/>
      </a:accent6>
      <a:hlink>
        <a:srgbClr val="1155CC"/>
      </a:hlink>
      <a:folHlink>
        <a:srgbClr val="6611CC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12_HSE_final_arial">
  <a:themeElements>
    <a:clrScheme name="ВШЭ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1C5C99"/>
      </a:accent1>
      <a:accent2>
        <a:srgbClr val="63C668"/>
      </a:accent2>
      <a:accent3>
        <a:srgbClr val="029FE4"/>
      </a:accent3>
      <a:accent4>
        <a:srgbClr val="F05A59"/>
      </a:accent4>
      <a:accent5>
        <a:srgbClr val="7858A4"/>
      </a:accent5>
      <a:accent6>
        <a:srgbClr val="F0972F"/>
      </a:accent6>
      <a:hlink>
        <a:srgbClr val="1155CC"/>
      </a:hlink>
      <a:folHlink>
        <a:srgbClr val="6611CC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13_HSE_final_arial">
  <a:themeElements>
    <a:clrScheme name="ВШЭ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1C5C99"/>
      </a:accent1>
      <a:accent2>
        <a:srgbClr val="63C668"/>
      </a:accent2>
      <a:accent3>
        <a:srgbClr val="029FE4"/>
      </a:accent3>
      <a:accent4>
        <a:srgbClr val="F05A59"/>
      </a:accent4>
      <a:accent5>
        <a:srgbClr val="7858A4"/>
      </a:accent5>
      <a:accent6>
        <a:srgbClr val="F0972F"/>
      </a:accent6>
      <a:hlink>
        <a:srgbClr val="1155CC"/>
      </a:hlink>
      <a:folHlink>
        <a:srgbClr val="6611CC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14_HSE_final_arial">
  <a:themeElements>
    <a:clrScheme name="ВШЭ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1C5C99"/>
      </a:accent1>
      <a:accent2>
        <a:srgbClr val="63C668"/>
      </a:accent2>
      <a:accent3>
        <a:srgbClr val="029FE4"/>
      </a:accent3>
      <a:accent4>
        <a:srgbClr val="F05A59"/>
      </a:accent4>
      <a:accent5>
        <a:srgbClr val="7858A4"/>
      </a:accent5>
      <a:accent6>
        <a:srgbClr val="F0972F"/>
      </a:accent6>
      <a:hlink>
        <a:srgbClr val="1155CC"/>
      </a:hlink>
      <a:folHlink>
        <a:srgbClr val="6611CC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2_Тема Office">
  <a:themeElements>
    <a:clrScheme name="АИЖК">
      <a:dk1>
        <a:srgbClr val="3E5057"/>
      </a:dk1>
      <a:lt1>
        <a:sysClr val="window" lastClr="FFFFFF"/>
      </a:lt1>
      <a:dk2>
        <a:srgbClr val="3E5057"/>
      </a:dk2>
      <a:lt2>
        <a:srgbClr val="FFFFFF"/>
      </a:lt2>
      <a:accent1>
        <a:srgbClr val="DCDEE0"/>
      </a:accent1>
      <a:accent2>
        <a:srgbClr val="A6AAA9"/>
      </a:accent2>
      <a:accent3>
        <a:srgbClr val="7F7F7F"/>
      </a:accent3>
      <a:accent4>
        <a:srgbClr val="3E5057"/>
      </a:accent4>
      <a:accent5>
        <a:srgbClr val="A6AAA9"/>
      </a:accent5>
      <a:accent6>
        <a:srgbClr val="8FC54C"/>
      </a:accent6>
      <a:hlink>
        <a:srgbClr val="8FC54C"/>
      </a:hlink>
      <a:folHlink>
        <a:srgbClr val="3E5057"/>
      </a:folHlink>
    </a:clrScheme>
    <a:fontScheme name="Другая 3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Template_AHML_4.pptx [только чтение]" id="{683D8B4C-CCED-4A32-AB74-DC63D92A5C4B}" vid="{85563BA2-75FB-4245-8164-76E951ED826E}"/>
    </a:ext>
  </a:extLst>
</a:theme>
</file>

<file path=ppt/theme/theme1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HSE_classic_2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Другая 1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HSE_final_arial">
  <a:themeElements>
    <a:clrScheme name="ВШЭ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1C5C99"/>
      </a:accent1>
      <a:accent2>
        <a:srgbClr val="63C668"/>
      </a:accent2>
      <a:accent3>
        <a:srgbClr val="029FE4"/>
      </a:accent3>
      <a:accent4>
        <a:srgbClr val="F05A59"/>
      </a:accent4>
      <a:accent5>
        <a:srgbClr val="7858A4"/>
      </a:accent5>
      <a:accent6>
        <a:srgbClr val="F0972F"/>
      </a:accent6>
      <a:hlink>
        <a:srgbClr val="1155CC"/>
      </a:hlink>
      <a:folHlink>
        <a:srgbClr val="6611CC"/>
      </a:folHlink>
    </a:clrScheme>
    <a:fontScheme name="Евгений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HSE_final_arial">
  <a:themeElements>
    <a:clrScheme name="ВШЭ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1C5C99"/>
      </a:accent1>
      <a:accent2>
        <a:srgbClr val="63C668"/>
      </a:accent2>
      <a:accent3>
        <a:srgbClr val="029FE4"/>
      </a:accent3>
      <a:accent4>
        <a:srgbClr val="F05A59"/>
      </a:accent4>
      <a:accent5>
        <a:srgbClr val="7858A4"/>
      </a:accent5>
      <a:accent6>
        <a:srgbClr val="F0972F"/>
      </a:accent6>
      <a:hlink>
        <a:srgbClr val="1155CC"/>
      </a:hlink>
      <a:folHlink>
        <a:srgbClr val="6611CC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HSE_final_arial">
  <a:themeElements>
    <a:clrScheme name="ВШЭ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1C5C99"/>
      </a:accent1>
      <a:accent2>
        <a:srgbClr val="63C668"/>
      </a:accent2>
      <a:accent3>
        <a:srgbClr val="029FE4"/>
      </a:accent3>
      <a:accent4>
        <a:srgbClr val="F05A59"/>
      </a:accent4>
      <a:accent5>
        <a:srgbClr val="7858A4"/>
      </a:accent5>
      <a:accent6>
        <a:srgbClr val="F0972F"/>
      </a:accent6>
      <a:hlink>
        <a:srgbClr val="1155CC"/>
      </a:hlink>
      <a:folHlink>
        <a:srgbClr val="6611CC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HSE_final_arial">
  <a:themeElements>
    <a:clrScheme name="ВШЭ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1C5C99"/>
      </a:accent1>
      <a:accent2>
        <a:srgbClr val="63C668"/>
      </a:accent2>
      <a:accent3>
        <a:srgbClr val="029FE4"/>
      </a:accent3>
      <a:accent4>
        <a:srgbClr val="F05A59"/>
      </a:accent4>
      <a:accent5>
        <a:srgbClr val="7858A4"/>
      </a:accent5>
      <a:accent6>
        <a:srgbClr val="F0972F"/>
      </a:accent6>
      <a:hlink>
        <a:srgbClr val="1155CC"/>
      </a:hlink>
      <a:folHlink>
        <a:srgbClr val="6611CC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5_HSE_final_arial">
  <a:themeElements>
    <a:clrScheme name="ВШЭ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1C5C99"/>
      </a:accent1>
      <a:accent2>
        <a:srgbClr val="63C668"/>
      </a:accent2>
      <a:accent3>
        <a:srgbClr val="029FE4"/>
      </a:accent3>
      <a:accent4>
        <a:srgbClr val="F05A59"/>
      </a:accent4>
      <a:accent5>
        <a:srgbClr val="7858A4"/>
      </a:accent5>
      <a:accent6>
        <a:srgbClr val="F0972F"/>
      </a:accent6>
      <a:hlink>
        <a:srgbClr val="1155CC"/>
      </a:hlink>
      <a:folHlink>
        <a:srgbClr val="6611CC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6_HSE_final_arial">
  <a:themeElements>
    <a:clrScheme name="ВШЭ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1C5C99"/>
      </a:accent1>
      <a:accent2>
        <a:srgbClr val="63C668"/>
      </a:accent2>
      <a:accent3>
        <a:srgbClr val="029FE4"/>
      </a:accent3>
      <a:accent4>
        <a:srgbClr val="F05A59"/>
      </a:accent4>
      <a:accent5>
        <a:srgbClr val="7858A4"/>
      </a:accent5>
      <a:accent6>
        <a:srgbClr val="F0972F"/>
      </a:accent6>
      <a:hlink>
        <a:srgbClr val="1155CC"/>
      </a:hlink>
      <a:folHlink>
        <a:srgbClr val="6611CC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7_HSE_final_arial">
  <a:themeElements>
    <a:clrScheme name="ВШЭ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1C5C99"/>
      </a:accent1>
      <a:accent2>
        <a:srgbClr val="63C668"/>
      </a:accent2>
      <a:accent3>
        <a:srgbClr val="029FE4"/>
      </a:accent3>
      <a:accent4>
        <a:srgbClr val="F05A59"/>
      </a:accent4>
      <a:accent5>
        <a:srgbClr val="7858A4"/>
      </a:accent5>
      <a:accent6>
        <a:srgbClr val="F0972F"/>
      </a:accent6>
      <a:hlink>
        <a:srgbClr val="1155CC"/>
      </a:hlink>
      <a:folHlink>
        <a:srgbClr val="6611CC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SE_final_arial</Template>
  <TotalTime>29850</TotalTime>
  <Words>546</Words>
  <Application>Microsoft Office PowerPoint</Application>
  <PresentationFormat>A3 (297x420 мм)</PresentationFormat>
  <Paragraphs>122</Paragraphs>
  <Slides>7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25" baseType="lpstr">
      <vt:lpstr>HSE_final_arial</vt:lpstr>
      <vt:lpstr>HSE_classic_2</vt:lpstr>
      <vt:lpstr>1_HSE_final_arial</vt:lpstr>
      <vt:lpstr>2_HSE_final_arial</vt:lpstr>
      <vt:lpstr>3_HSE_final_arial</vt:lpstr>
      <vt:lpstr>4_HSE_final_arial</vt:lpstr>
      <vt:lpstr>5_HSE_final_arial</vt:lpstr>
      <vt:lpstr>6_HSE_final_arial</vt:lpstr>
      <vt:lpstr>7_HSE_final_arial</vt:lpstr>
      <vt:lpstr>8_HSE_final_arial</vt:lpstr>
      <vt:lpstr>9_HSE_final_arial</vt:lpstr>
      <vt:lpstr>10_HSE_final_arial</vt:lpstr>
      <vt:lpstr>11_HSE_final_arial</vt:lpstr>
      <vt:lpstr>12_HSE_final_arial</vt:lpstr>
      <vt:lpstr>13_HSE_final_arial</vt:lpstr>
      <vt:lpstr>14_HSE_final_arial</vt:lpstr>
      <vt:lpstr>2_Тема Office</vt:lpstr>
      <vt:lpstr>think-cell Slide</vt:lpstr>
      <vt:lpstr>Презентация PowerPoint</vt:lpstr>
      <vt:lpstr>Рекомендации ОЭСР в сфере жилищной политики</vt:lpstr>
      <vt:lpstr>Региональное и городское развитие</vt:lpstr>
      <vt:lpstr>Конкуренция </vt:lpstr>
      <vt:lpstr>Энергетика</vt:lpstr>
      <vt:lpstr>Социальные вопросы и инклюзивный рост</vt:lpstr>
      <vt:lpstr>Итоговые выводы:</vt:lpstr>
    </vt:vector>
  </TitlesOfParts>
  <Company>НИУ ВШЭ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гропромышленный комплекс России: от адаптационной стратегии к технологическому прорыву</dc:title>
  <dc:creator>Кузьминов Илья Филиппович</dc:creator>
  <cp:lastModifiedBy>Пользователь Windows</cp:lastModifiedBy>
  <cp:revision>2717</cp:revision>
  <cp:lastPrinted>2017-05-17T09:34:38Z</cp:lastPrinted>
  <dcterms:created xsi:type="dcterms:W3CDTF">2016-01-12T06:56:00Z</dcterms:created>
  <dcterms:modified xsi:type="dcterms:W3CDTF">2017-08-08T10:08:06Z</dcterms:modified>
</cp:coreProperties>
</file>